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1" r:id="rId4"/>
    <p:sldMasterId id="2147483700" r:id="rId5"/>
  </p:sldMasterIdLst>
  <p:notesMasterIdLst>
    <p:notesMasterId r:id="rId17"/>
  </p:notesMasterIdLst>
  <p:sldIdLst>
    <p:sldId id="256" r:id="rId6"/>
    <p:sldId id="258" r:id="rId7"/>
    <p:sldId id="264" r:id="rId8"/>
    <p:sldId id="259" r:id="rId9"/>
    <p:sldId id="260" r:id="rId10"/>
    <p:sldId id="261" r:id="rId11"/>
    <p:sldId id="262" r:id="rId12"/>
    <p:sldId id="263" r:id="rId13"/>
    <p:sldId id="266" r:id="rId14"/>
    <p:sldId id="267" r:id="rId15"/>
    <p:sldId id="265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nledning" id="{EC5882E4-4C42-44CC-8E14-BBD8739ED317}">
          <p14:sldIdLst>
            <p14:sldId id="256"/>
            <p14:sldId id="258"/>
            <p14:sldId id="264"/>
            <p14:sldId id="259"/>
          </p14:sldIdLst>
        </p14:section>
        <p14:section name="Innhold" id="{3F3BEDD3-96E7-466A-836C-FB310EE77F5D}">
          <p14:sldIdLst>
            <p14:sldId id="260"/>
            <p14:sldId id="261"/>
            <p14:sldId id="262"/>
            <p14:sldId id="263"/>
            <p14:sldId id="266"/>
            <p14:sldId id="267"/>
          </p14:sldIdLst>
        </p14:section>
        <p14:section name="Avslutning" id="{5C6E4BD7-C134-4669-9A10-BEDC7F62E62A}">
          <p14:sldIdLst>
            <p14:sldId id="2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bekka Solberg" initials="RS" lastIdx="9" clrIdx="0">
    <p:extLst>
      <p:ext uri="{19B8F6BF-5375-455C-9EA6-DF929625EA0E}">
        <p15:presenceInfo xmlns:p15="http://schemas.microsoft.com/office/powerpoint/2012/main" userId="S::rebekka.solberg@nhn.no::f47501a4-b4b5-4799-a4a2-215b79aae0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BEFB2"/>
    <a:srgbClr val="015945"/>
    <a:srgbClr val="BCBEC0"/>
    <a:srgbClr val="02A67F"/>
    <a:srgbClr val="7AF0B2"/>
    <a:srgbClr val="247360"/>
    <a:srgbClr val="E85801"/>
    <a:srgbClr val="39806F"/>
    <a:srgbClr val="9BF3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EC9569-B57A-4E28-B6F8-D723FE6BEFB4}" v="33" dt="2022-11-28T11:36:00.996"/>
  </p1510:revLst>
</p1510:revInfo>
</file>

<file path=ppt/tableStyles.xml><?xml version="1.0" encoding="utf-8"?>
<a:tblStyleLst xmlns:a="http://schemas.openxmlformats.org/drawingml/2006/main" def="{49B910FD-70F5-414C-948A-135EA5CDF89A}">
  <a:tblStyle styleId="{49B910FD-70F5-414C-948A-135EA5CDF89A}" styleName="Norsk helsenett (lys bakgrunn)">
    <a:wholeTbl>
      <a:tcTxStyle>
        <a:fontRef idx="minor">
          <a:prstClr val="black"/>
        </a:fontRef>
        <a:srgbClr val="0D0D0D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  <a:fill>
          <a:solidFill>
            <a:srgbClr val="EDFBF4"/>
          </a:solidFill>
        </a:fill>
      </a:tcStyle>
    </a:wholeTbl>
    <a:band1H>
      <a:tcStyle>
        <a:tcBdr/>
        <a:fill>
          <a:solidFill>
            <a:srgbClr val="EDFBF4"/>
          </a:solidFill>
        </a:fill>
      </a:tcStyle>
    </a:band1H>
    <a:band2H>
      <a:tcStyle>
        <a:tcBdr/>
        <a:fill>
          <a:solidFill>
            <a:srgbClr val="DCF7E9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  <a:fill>
          <a:solidFill>
            <a:srgbClr val="C7CCEF"/>
          </a:solidFill>
        </a:fill>
      </a:tcStyle>
    </a:lastCol>
    <a:firstCol>
      <a:tcTxStyle b="on">
        <a:fontRef idx="minor">
          <a:prstClr val="black"/>
        </a:fontRef>
        <a:srgbClr val="252A35"/>
      </a:tcTxStyle>
      <a:tcStyle>
        <a:tcBdr/>
        <a:fill>
          <a:solidFill>
            <a:srgbClr val="C7CCEF"/>
          </a:solidFill>
        </a:fill>
      </a:tcStyle>
    </a:firstCol>
    <a:lastRow>
      <a:tcTxStyle b="on">
        <a:fontRef idx="minor">
          <a:prstClr val="black"/>
        </a:fontRef>
        <a:srgbClr val="FFFFFF"/>
      </a:tcTxStyle>
      <a:tcStyle>
        <a:tcBdr/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  <a:fill>
          <a:solidFill>
            <a:srgbClr val="015945"/>
          </a:solidFill>
        </a:fill>
      </a:tcStyle>
    </a:firstRow>
  </a:tblStyle>
  <a:tblStyle styleId="{9343EC62-6E1C-4CCD-B1D8-ED76135C5F7F}" styleName="Norsk helsenett (mørk bakgrunn)">
    <a:wholeTbl>
      <a:tcTxStyle>
        <a:fontRef idx="minor">
          <a:prstClr val="white"/>
        </a:fontRef>
        <a:srgbClr val="FFFFFF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</a:tcStyle>
    </a:wholeTbl>
    <a:band1H>
      <a:tcStyle>
        <a:tcBdr>
          <a:bottom>
            <a:ln w="6350" cap="flat" cmpd="sng" algn="ctr">
              <a:solidFill>
                <a:srgbClr val="80ACA2"/>
              </a:solidFill>
              <a:prstDash val="solid"/>
            </a:ln>
          </a:bottom>
        </a:tcBdr>
      </a:tcStyle>
    </a:band1H>
    <a:band2H>
      <a:tcStyle>
        <a:tcBdr>
          <a:bottom>
            <a:ln w="6350" cap="flat" cmpd="sng" algn="ctr">
              <a:solidFill>
                <a:srgbClr val="80ACA2"/>
              </a:solidFill>
              <a:prstDash val="solid"/>
            </a:ln>
          </a:bottom>
        </a:tcBdr>
        <a:fill>
          <a:solidFill>
            <a:srgbClr val="000000">
              <a:alpha val="20000"/>
            </a:srgbClr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firstRow>
      <a:tcTxStyle b="off">
        <a:fontRef idx="minor">
          <a:prstClr val="white"/>
        </a:fontRef>
        <a:srgbClr val="7BEFB2"/>
      </a:tcTxStyle>
      <a:tcStyle>
        <a:tcBdr>
          <a:bottom>
            <a:ln w="12700" cap="flat" cmpd="sng" algn="ctr">
              <a:solidFill>
                <a:srgbClr val="7BEFB2"/>
              </a:solidFill>
              <a:prstDash val="solid"/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586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var Yrke" userId="f36eb98d-9700-4ec6-9cfd-67daf3750017" providerId="ADAL" clId="{E0EC9569-B57A-4E28-B6F8-D723FE6BEFB4}"/>
    <pc:docChg chg="undo custSel addSld delSld modSld sldOrd modSection">
      <pc:chgData name="Ivar Yrke" userId="f36eb98d-9700-4ec6-9cfd-67daf3750017" providerId="ADAL" clId="{E0EC9569-B57A-4E28-B6F8-D723FE6BEFB4}" dt="2022-11-29T10:46:59.701" v="2430" actId="20577"/>
      <pc:docMkLst>
        <pc:docMk/>
      </pc:docMkLst>
      <pc:sldChg chg="addSp delSp modSp mod chgLayout">
        <pc:chgData name="Ivar Yrke" userId="f36eb98d-9700-4ec6-9cfd-67daf3750017" providerId="ADAL" clId="{E0EC9569-B57A-4E28-B6F8-D723FE6BEFB4}" dt="2022-11-28T10:50:39.037" v="619" actId="20577"/>
        <pc:sldMkLst>
          <pc:docMk/>
          <pc:sldMk cId="3440891726" sldId="256"/>
        </pc:sldMkLst>
        <pc:spChg chg="add mod ord">
          <ac:chgData name="Ivar Yrke" userId="f36eb98d-9700-4ec6-9cfd-67daf3750017" providerId="ADAL" clId="{E0EC9569-B57A-4E28-B6F8-D723FE6BEFB4}" dt="2022-11-23T07:24:53.214" v="166" actId="1076"/>
          <ac:spMkLst>
            <pc:docMk/>
            <pc:sldMk cId="3440891726" sldId="256"/>
            <ac:spMk id="2" creationId="{9875A323-F6DC-4830-A22C-8562C0DCDE9C}"/>
          </ac:spMkLst>
        </pc:spChg>
        <pc:spChg chg="mod ord">
          <ac:chgData name="Ivar Yrke" userId="f36eb98d-9700-4ec6-9cfd-67daf3750017" providerId="ADAL" clId="{E0EC9569-B57A-4E28-B6F8-D723FE6BEFB4}" dt="2022-11-28T10:50:39.037" v="619" actId="20577"/>
          <ac:spMkLst>
            <pc:docMk/>
            <pc:sldMk cId="3440891726" sldId="256"/>
            <ac:spMk id="5" creationId="{B32BFC86-FB65-40DE-B69A-E0554F256037}"/>
          </ac:spMkLst>
        </pc:spChg>
        <pc:spChg chg="del mod">
          <ac:chgData name="Ivar Yrke" userId="f36eb98d-9700-4ec6-9cfd-67daf3750017" providerId="ADAL" clId="{E0EC9569-B57A-4E28-B6F8-D723FE6BEFB4}" dt="2022-11-23T07:21:22.297" v="33" actId="700"/>
          <ac:spMkLst>
            <pc:docMk/>
            <pc:sldMk cId="3440891726" sldId="256"/>
            <ac:spMk id="8" creationId="{1DF94B5F-A1D3-4BDF-83D2-E117BF01F3F0}"/>
          </ac:spMkLst>
        </pc:spChg>
      </pc:sldChg>
      <pc:sldChg chg="addSp delSp modSp new del mod modClrScheme chgLayout">
        <pc:chgData name="Ivar Yrke" userId="f36eb98d-9700-4ec6-9cfd-67daf3750017" providerId="ADAL" clId="{E0EC9569-B57A-4E28-B6F8-D723FE6BEFB4}" dt="2022-11-23T07:26:33.559" v="181" actId="47"/>
        <pc:sldMkLst>
          <pc:docMk/>
          <pc:sldMk cId="2416272441" sldId="257"/>
        </pc:sldMkLst>
        <pc:spChg chg="del mod ord">
          <ac:chgData name="Ivar Yrke" userId="f36eb98d-9700-4ec6-9cfd-67daf3750017" providerId="ADAL" clId="{E0EC9569-B57A-4E28-B6F8-D723FE6BEFB4}" dt="2022-11-23T07:25:30.396" v="168" actId="700"/>
          <ac:spMkLst>
            <pc:docMk/>
            <pc:sldMk cId="2416272441" sldId="257"/>
            <ac:spMk id="2" creationId="{AFB01D49-C26B-48B7-A727-C2C50C5E227E}"/>
          </ac:spMkLst>
        </pc:spChg>
        <pc:spChg chg="del">
          <ac:chgData name="Ivar Yrke" userId="f36eb98d-9700-4ec6-9cfd-67daf3750017" providerId="ADAL" clId="{E0EC9569-B57A-4E28-B6F8-D723FE6BEFB4}" dt="2022-11-23T07:25:30.396" v="168" actId="700"/>
          <ac:spMkLst>
            <pc:docMk/>
            <pc:sldMk cId="2416272441" sldId="257"/>
            <ac:spMk id="3" creationId="{B6A8B1E8-9095-45CB-AFBE-F9F183086A9A}"/>
          </ac:spMkLst>
        </pc:spChg>
        <pc:spChg chg="del mod ord">
          <ac:chgData name="Ivar Yrke" userId="f36eb98d-9700-4ec6-9cfd-67daf3750017" providerId="ADAL" clId="{E0EC9569-B57A-4E28-B6F8-D723FE6BEFB4}" dt="2022-11-23T07:25:30.396" v="168" actId="700"/>
          <ac:spMkLst>
            <pc:docMk/>
            <pc:sldMk cId="2416272441" sldId="257"/>
            <ac:spMk id="4" creationId="{D8B33E38-9977-45A2-A972-C1EFDB5F69C9}"/>
          </ac:spMkLst>
        </pc:spChg>
        <pc:spChg chg="add mod ord">
          <ac:chgData name="Ivar Yrke" userId="f36eb98d-9700-4ec6-9cfd-67daf3750017" providerId="ADAL" clId="{E0EC9569-B57A-4E28-B6F8-D723FE6BEFB4}" dt="2022-11-23T07:26:16.667" v="177" actId="700"/>
          <ac:spMkLst>
            <pc:docMk/>
            <pc:sldMk cId="2416272441" sldId="257"/>
            <ac:spMk id="5" creationId="{384FC8AB-DEBD-42F4-A07F-CF353CE7B046}"/>
          </ac:spMkLst>
        </pc:spChg>
        <pc:spChg chg="add del mod ord">
          <ac:chgData name="Ivar Yrke" userId="f36eb98d-9700-4ec6-9cfd-67daf3750017" providerId="ADAL" clId="{E0EC9569-B57A-4E28-B6F8-D723FE6BEFB4}" dt="2022-11-23T07:26:24.906" v="179" actId="478"/>
          <ac:spMkLst>
            <pc:docMk/>
            <pc:sldMk cId="2416272441" sldId="257"/>
            <ac:spMk id="6" creationId="{4D0AFCF9-9C26-4393-9D10-8B5815FA3A3F}"/>
          </ac:spMkLst>
        </pc:spChg>
        <pc:spChg chg="add mod ord">
          <ac:chgData name="Ivar Yrke" userId="f36eb98d-9700-4ec6-9cfd-67daf3750017" providerId="ADAL" clId="{E0EC9569-B57A-4E28-B6F8-D723FE6BEFB4}" dt="2022-11-23T07:26:16.667" v="177" actId="700"/>
          <ac:spMkLst>
            <pc:docMk/>
            <pc:sldMk cId="2416272441" sldId="257"/>
            <ac:spMk id="7" creationId="{B2E5CF46-43DA-4094-B18B-06C9B9F0BAE3}"/>
          </ac:spMkLst>
        </pc:spChg>
        <pc:spChg chg="add mod ord">
          <ac:chgData name="Ivar Yrke" userId="f36eb98d-9700-4ec6-9cfd-67daf3750017" providerId="ADAL" clId="{E0EC9569-B57A-4E28-B6F8-D723FE6BEFB4}" dt="2022-11-23T07:26:16.667" v="177" actId="700"/>
          <ac:spMkLst>
            <pc:docMk/>
            <pc:sldMk cId="2416272441" sldId="257"/>
            <ac:spMk id="8" creationId="{005E72C6-3D81-48A5-88BE-311F1F675FD3}"/>
          </ac:spMkLst>
        </pc:spChg>
      </pc:sldChg>
      <pc:sldChg chg="addSp delSp modSp new mod">
        <pc:chgData name="Ivar Yrke" userId="f36eb98d-9700-4ec6-9cfd-67daf3750017" providerId="ADAL" clId="{E0EC9569-B57A-4E28-B6F8-D723FE6BEFB4}" dt="2022-11-28T11:25:42.850" v="1708" actId="20577"/>
        <pc:sldMkLst>
          <pc:docMk/>
          <pc:sldMk cId="3662573195" sldId="258"/>
        </pc:sldMkLst>
        <pc:spChg chg="del">
          <ac:chgData name="Ivar Yrke" userId="f36eb98d-9700-4ec6-9cfd-67daf3750017" providerId="ADAL" clId="{E0EC9569-B57A-4E28-B6F8-D723FE6BEFB4}" dt="2022-11-28T07:13:02.375" v="475" actId="478"/>
          <ac:spMkLst>
            <pc:docMk/>
            <pc:sldMk cId="3662573195" sldId="258"/>
            <ac:spMk id="2" creationId="{38BDD243-FDBE-42EF-A3B2-DC142E52A45C}"/>
          </ac:spMkLst>
        </pc:spChg>
        <pc:spChg chg="mod">
          <ac:chgData name="Ivar Yrke" userId="f36eb98d-9700-4ec6-9cfd-67daf3750017" providerId="ADAL" clId="{E0EC9569-B57A-4E28-B6F8-D723FE6BEFB4}" dt="2022-11-28T11:25:42.850" v="1708" actId="20577"/>
          <ac:spMkLst>
            <pc:docMk/>
            <pc:sldMk cId="3662573195" sldId="258"/>
            <ac:spMk id="3" creationId="{5F352EF9-4CC6-4686-A232-E64572C341AF}"/>
          </ac:spMkLst>
        </pc:spChg>
        <pc:spChg chg="mod">
          <ac:chgData name="Ivar Yrke" userId="f36eb98d-9700-4ec6-9cfd-67daf3750017" providerId="ADAL" clId="{E0EC9569-B57A-4E28-B6F8-D723FE6BEFB4}" dt="2022-11-23T07:27:02.340" v="232" actId="20577"/>
          <ac:spMkLst>
            <pc:docMk/>
            <pc:sldMk cId="3662573195" sldId="258"/>
            <ac:spMk id="4" creationId="{66E275BF-ABE2-4B2D-8144-69BD1760648C}"/>
          </ac:spMkLst>
        </pc:spChg>
        <pc:spChg chg="del mod">
          <ac:chgData name="Ivar Yrke" userId="f36eb98d-9700-4ec6-9cfd-67daf3750017" providerId="ADAL" clId="{E0EC9569-B57A-4E28-B6F8-D723FE6BEFB4}" dt="2022-11-28T07:17:44.139" v="477" actId="478"/>
          <ac:spMkLst>
            <pc:docMk/>
            <pc:sldMk cId="3662573195" sldId="258"/>
            <ac:spMk id="5" creationId="{AB4E7600-FFB5-470E-A0B5-5068F3A943D0}"/>
          </ac:spMkLst>
        </pc:spChg>
        <pc:spChg chg="add del mod">
          <ac:chgData name="Ivar Yrke" userId="f36eb98d-9700-4ec6-9cfd-67daf3750017" providerId="ADAL" clId="{E0EC9569-B57A-4E28-B6F8-D723FE6BEFB4}" dt="2022-11-28T07:17:47.814" v="478" actId="478"/>
          <ac:spMkLst>
            <pc:docMk/>
            <pc:sldMk cId="3662573195" sldId="258"/>
            <ac:spMk id="7" creationId="{6E843F58-CF32-48D3-A7E2-786C4C55AD85}"/>
          </ac:spMkLst>
        </pc:spChg>
      </pc:sldChg>
      <pc:sldChg chg="addSp delSp modSp new mod modClrScheme chgLayout">
        <pc:chgData name="Ivar Yrke" userId="f36eb98d-9700-4ec6-9cfd-67daf3750017" providerId="ADAL" clId="{E0EC9569-B57A-4E28-B6F8-D723FE6BEFB4}" dt="2022-11-23T07:30:59.848" v="394" actId="20577"/>
        <pc:sldMkLst>
          <pc:docMk/>
          <pc:sldMk cId="3165195561" sldId="259"/>
        </pc:sldMkLst>
        <pc:spChg chg="del mod ord">
          <ac:chgData name="Ivar Yrke" userId="f36eb98d-9700-4ec6-9cfd-67daf3750017" providerId="ADAL" clId="{E0EC9569-B57A-4E28-B6F8-D723FE6BEFB4}" dt="2022-11-23T07:30:06.437" v="341" actId="700"/>
          <ac:spMkLst>
            <pc:docMk/>
            <pc:sldMk cId="3165195561" sldId="259"/>
            <ac:spMk id="2" creationId="{9D0C9FE5-43D9-4983-9CBE-FA297FC05504}"/>
          </ac:spMkLst>
        </pc:spChg>
        <pc:spChg chg="del">
          <ac:chgData name="Ivar Yrke" userId="f36eb98d-9700-4ec6-9cfd-67daf3750017" providerId="ADAL" clId="{E0EC9569-B57A-4E28-B6F8-D723FE6BEFB4}" dt="2022-11-23T07:30:06.437" v="341" actId="700"/>
          <ac:spMkLst>
            <pc:docMk/>
            <pc:sldMk cId="3165195561" sldId="259"/>
            <ac:spMk id="3" creationId="{A8B30AAF-1975-42F9-9676-20BBBC48466C}"/>
          </ac:spMkLst>
        </pc:spChg>
        <pc:spChg chg="del mod ord">
          <ac:chgData name="Ivar Yrke" userId="f36eb98d-9700-4ec6-9cfd-67daf3750017" providerId="ADAL" clId="{E0EC9569-B57A-4E28-B6F8-D723FE6BEFB4}" dt="2022-11-23T07:30:06.437" v="341" actId="700"/>
          <ac:spMkLst>
            <pc:docMk/>
            <pc:sldMk cId="3165195561" sldId="259"/>
            <ac:spMk id="4" creationId="{D3C7988D-C529-44C9-A305-628AD6447FBB}"/>
          </ac:spMkLst>
        </pc:spChg>
        <pc:spChg chg="del">
          <ac:chgData name="Ivar Yrke" userId="f36eb98d-9700-4ec6-9cfd-67daf3750017" providerId="ADAL" clId="{E0EC9569-B57A-4E28-B6F8-D723FE6BEFB4}" dt="2022-11-23T07:30:06.437" v="341" actId="700"/>
          <ac:spMkLst>
            <pc:docMk/>
            <pc:sldMk cId="3165195561" sldId="259"/>
            <ac:spMk id="5" creationId="{A465FC48-B768-41D6-AF86-61F6692E292D}"/>
          </ac:spMkLst>
        </pc:spChg>
        <pc:spChg chg="add mod ord">
          <ac:chgData name="Ivar Yrke" userId="f36eb98d-9700-4ec6-9cfd-67daf3750017" providerId="ADAL" clId="{E0EC9569-B57A-4E28-B6F8-D723FE6BEFB4}" dt="2022-11-23T07:30:13.664" v="347" actId="20577"/>
          <ac:spMkLst>
            <pc:docMk/>
            <pc:sldMk cId="3165195561" sldId="259"/>
            <ac:spMk id="6" creationId="{021C6A0C-896B-4EAB-87FE-B478BABF6185}"/>
          </ac:spMkLst>
        </pc:spChg>
        <pc:spChg chg="add mod ord">
          <ac:chgData name="Ivar Yrke" userId="f36eb98d-9700-4ec6-9cfd-67daf3750017" providerId="ADAL" clId="{E0EC9569-B57A-4E28-B6F8-D723FE6BEFB4}" dt="2022-11-23T07:30:59.848" v="394" actId="20577"/>
          <ac:spMkLst>
            <pc:docMk/>
            <pc:sldMk cId="3165195561" sldId="259"/>
            <ac:spMk id="7" creationId="{B9CA8919-D389-4E45-97B0-2DAA5D6DBB0D}"/>
          </ac:spMkLst>
        </pc:spChg>
      </pc:sldChg>
      <pc:sldChg chg="addSp delSp modSp new mod ord modClrScheme chgLayout">
        <pc:chgData name="Ivar Yrke" userId="f36eb98d-9700-4ec6-9cfd-67daf3750017" providerId="ADAL" clId="{E0EC9569-B57A-4E28-B6F8-D723FE6BEFB4}" dt="2022-11-23T11:09:37.091" v="474" actId="1076"/>
        <pc:sldMkLst>
          <pc:docMk/>
          <pc:sldMk cId="1234247478" sldId="260"/>
        </pc:sldMkLst>
        <pc:spChg chg="del mod ord">
          <ac:chgData name="Ivar Yrke" userId="f36eb98d-9700-4ec6-9cfd-67daf3750017" providerId="ADAL" clId="{E0EC9569-B57A-4E28-B6F8-D723FE6BEFB4}" dt="2022-11-23T07:32:18.316" v="396" actId="700"/>
          <ac:spMkLst>
            <pc:docMk/>
            <pc:sldMk cId="1234247478" sldId="260"/>
            <ac:spMk id="2" creationId="{5AC17C4D-DCF8-4BA1-8C42-52EC0601B55E}"/>
          </ac:spMkLst>
        </pc:spChg>
        <pc:spChg chg="del mod ord">
          <ac:chgData name="Ivar Yrke" userId="f36eb98d-9700-4ec6-9cfd-67daf3750017" providerId="ADAL" clId="{E0EC9569-B57A-4E28-B6F8-D723FE6BEFB4}" dt="2022-11-23T07:32:18.316" v="396" actId="700"/>
          <ac:spMkLst>
            <pc:docMk/>
            <pc:sldMk cId="1234247478" sldId="260"/>
            <ac:spMk id="3" creationId="{06EB9238-57AD-4CDD-B545-C29EC3D5B235}"/>
          </ac:spMkLst>
        </pc:spChg>
        <pc:spChg chg="add mod ord">
          <ac:chgData name="Ivar Yrke" userId="f36eb98d-9700-4ec6-9cfd-67daf3750017" providerId="ADAL" clId="{E0EC9569-B57A-4E28-B6F8-D723FE6BEFB4}" dt="2022-11-23T07:39:08.718" v="437" actId="1076"/>
          <ac:spMkLst>
            <pc:docMk/>
            <pc:sldMk cId="1234247478" sldId="260"/>
            <ac:spMk id="4" creationId="{F5635863-81E2-4D91-9905-879E561EC23B}"/>
          </ac:spMkLst>
        </pc:spChg>
        <pc:spChg chg="add del mod ord">
          <ac:chgData name="Ivar Yrke" userId="f36eb98d-9700-4ec6-9cfd-67daf3750017" providerId="ADAL" clId="{E0EC9569-B57A-4E28-B6F8-D723FE6BEFB4}" dt="2022-11-23T07:39:03.197" v="436" actId="478"/>
          <ac:spMkLst>
            <pc:docMk/>
            <pc:sldMk cId="1234247478" sldId="260"/>
            <ac:spMk id="5" creationId="{A66AD7F5-E53F-44BC-9229-BA1FA151D9E4}"/>
          </ac:spMkLst>
        </pc:spChg>
        <pc:spChg chg="add del mod ord">
          <ac:chgData name="Ivar Yrke" userId="f36eb98d-9700-4ec6-9cfd-67daf3750017" providerId="ADAL" clId="{E0EC9569-B57A-4E28-B6F8-D723FE6BEFB4}" dt="2022-11-23T07:37:48.968" v="423" actId="478"/>
          <ac:spMkLst>
            <pc:docMk/>
            <pc:sldMk cId="1234247478" sldId="260"/>
            <ac:spMk id="6" creationId="{A2B5288B-DBEB-44CF-B1EF-3795D1A73974}"/>
          </ac:spMkLst>
        </pc:spChg>
        <pc:spChg chg="add del mod ord">
          <ac:chgData name="Ivar Yrke" userId="f36eb98d-9700-4ec6-9cfd-67daf3750017" providerId="ADAL" clId="{E0EC9569-B57A-4E28-B6F8-D723FE6BEFB4}" dt="2022-11-23T10:50:06.070" v="442" actId="478"/>
          <ac:spMkLst>
            <pc:docMk/>
            <pc:sldMk cId="1234247478" sldId="260"/>
            <ac:spMk id="7" creationId="{89D0CD27-A822-4165-A00D-152EBAB5F02F}"/>
          </ac:spMkLst>
        </pc:spChg>
        <pc:picChg chg="add mod">
          <ac:chgData name="Ivar Yrke" userId="f36eb98d-9700-4ec6-9cfd-67daf3750017" providerId="ADAL" clId="{E0EC9569-B57A-4E28-B6F8-D723FE6BEFB4}" dt="2022-11-23T11:08:40.120" v="461" actId="1076"/>
          <ac:picMkLst>
            <pc:docMk/>
            <pc:sldMk cId="1234247478" sldId="260"/>
            <ac:picMk id="9" creationId="{E86A2BD2-C4E3-4C22-8347-928096836900}"/>
          </ac:picMkLst>
        </pc:picChg>
        <pc:picChg chg="add mod">
          <ac:chgData name="Ivar Yrke" userId="f36eb98d-9700-4ec6-9cfd-67daf3750017" providerId="ADAL" clId="{E0EC9569-B57A-4E28-B6F8-D723FE6BEFB4}" dt="2022-11-23T11:09:37.091" v="474" actId="1076"/>
          <ac:picMkLst>
            <pc:docMk/>
            <pc:sldMk cId="1234247478" sldId="260"/>
            <ac:picMk id="10" creationId="{F037B50E-6312-4C4A-A33F-5AB255C6B0A0}"/>
          </ac:picMkLst>
        </pc:picChg>
      </pc:sldChg>
      <pc:sldChg chg="new del">
        <pc:chgData name="Ivar Yrke" userId="f36eb98d-9700-4ec6-9cfd-67daf3750017" providerId="ADAL" clId="{E0EC9569-B57A-4E28-B6F8-D723FE6BEFB4}" dt="2022-11-23T07:38:39.245" v="427" actId="47"/>
        <pc:sldMkLst>
          <pc:docMk/>
          <pc:sldMk cId="774176222" sldId="261"/>
        </pc:sldMkLst>
      </pc:sldChg>
      <pc:sldChg chg="modSp add mod">
        <pc:chgData name="Ivar Yrke" userId="f36eb98d-9700-4ec6-9cfd-67daf3750017" providerId="ADAL" clId="{E0EC9569-B57A-4E28-B6F8-D723FE6BEFB4}" dt="2022-11-28T11:14:49.508" v="1220" actId="6549"/>
        <pc:sldMkLst>
          <pc:docMk/>
          <pc:sldMk cId="1047969637" sldId="261"/>
        </pc:sldMkLst>
        <pc:spChg chg="mod">
          <ac:chgData name="Ivar Yrke" userId="f36eb98d-9700-4ec6-9cfd-67daf3750017" providerId="ADAL" clId="{E0EC9569-B57A-4E28-B6F8-D723FE6BEFB4}" dt="2022-11-28T10:59:18.349" v="711" actId="20577"/>
          <ac:spMkLst>
            <pc:docMk/>
            <pc:sldMk cId="1047969637" sldId="261"/>
            <ac:spMk id="4" creationId="{F5635863-81E2-4D91-9905-879E561EC23B}"/>
          </ac:spMkLst>
        </pc:spChg>
        <pc:spChg chg="mod">
          <ac:chgData name="Ivar Yrke" userId="f36eb98d-9700-4ec6-9cfd-67daf3750017" providerId="ADAL" clId="{E0EC9569-B57A-4E28-B6F8-D723FE6BEFB4}" dt="2022-11-28T11:14:49.508" v="1220" actId="6549"/>
          <ac:spMkLst>
            <pc:docMk/>
            <pc:sldMk cId="1047969637" sldId="261"/>
            <ac:spMk id="7" creationId="{89D0CD27-A822-4165-A00D-152EBAB5F02F}"/>
          </ac:spMkLst>
        </pc:spChg>
      </pc:sldChg>
      <pc:sldChg chg="add del">
        <pc:chgData name="Ivar Yrke" userId="f36eb98d-9700-4ec6-9cfd-67daf3750017" providerId="ADAL" clId="{E0EC9569-B57A-4E28-B6F8-D723FE6BEFB4}" dt="2022-11-23T07:38:54.867" v="432" actId="47"/>
        <pc:sldMkLst>
          <pc:docMk/>
          <pc:sldMk cId="2838730176" sldId="261"/>
        </pc:sldMkLst>
      </pc:sldChg>
      <pc:sldChg chg="add del">
        <pc:chgData name="Ivar Yrke" userId="f36eb98d-9700-4ec6-9cfd-67daf3750017" providerId="ADAL" clId="{E0EC9569-B57A-4E28-B6F8-D723FE6BEFB4}" dt="2022-11-23T07:38:55.925" v="433" actId="47"/>
        <pc:sldMkLst>
          <pc:docMk/>
          <pc:sldMk cId="505783820" sldId="262"/>
        </pc:sldMkLst>
      </pc:sldChg>
      <pc:sldChg chg="modSp add mod">
        <pc:chgData name="Ivar Yrke" userId="f36eb98d-9700-4ec6-9cfd-67daf3750017" providerId="ADAL" clId="{E0EC9569-B57A-4E28-B6F8-D723FE6BEFB4}" dt="2022-11-28T11:17:51.576" v="1244" actId="20577"/>
        <pc:sldMkLst>
          <pc:docMk/>
          <pc:sldMk cId="1024089532" sldId="262"/>
        </pc:sldMkLst>
        <pc:spChg chg="mod">
          <ac:chgData name="Ivar Yrke" userId="f36eb98d-9700-4ec6-9cfd-67daf3750017" providerId="ADAL" clId="{E0EC9569-B57A-4E28-B6F8-D723FE6BEFB4}" dt="2022-11-28T11:15:37.118" v="1232" actId="20577"/>
          <ac:spMkLst>
            <pc:docMk/>
            <pc:sldMk cId="1024089532" sldId="262"/>
            <ac:spMk id="4" creationId="{F5635863-81E2-4D91-9905-879E561EC23B}"/>
          </ac:spMkLst>
        </pc:spChg>
        <pc:spChg chg="mod">
          <ac:chgData name="Ivar Yrke" userId="f36eb98d-9700-4ec6-9cfd-67daf3750017" providerId="ADAL" clId="{E0EC9569-B57A-4E28-B6F8-D723FE6BEFB4}" dt="2022-11-28T11:17:51.576" v="1244" actId="20577"/>
          <ac:spMkLst>
            <pc:docMk/>
            <pc:sldMk cId="1024089532" sldId="262"/>
            <ac:spMk id="7" creationId="{89D0CD27-A822-4165-A00D-152EBAB5F02F}"/>
          </ac:spMkLst>
        </pc:spChg>
      </pc:sldChg>
      <pc:sldChg chg="modSp add mod">
        <pc:chgData name="Ivar Yrke" userId="f36eb98d-9700-4ec6-9cfd-67daf3750017" providerId="ADAL" clId="{E0EC9569-B57A-4E28-B6F8-D723FE6BEFB4}" dt="2022-11-28T11:21:02.552" v="1445" actId="20577"/>
        <pc:sldMkLst>
          <pc:docMk/>
          <pc:sldMk cId="1775980789" sldId="263"/>
        </pc:sldMkLst>
        <pc:spChg chg="mod">
          <ac:chgData name="Ivar Yrke" userId="f36eb98d-9700-4ec6-9cfd-67daf3750017" providerId="ADAL" clId="{E0EC9569-B57A-4E28-B6F8-D723FE6BEFB4}" dt="2022-11-28T11:18:39.578" v="1270" actId="20577"/>
          <ac:spMkLst>
            <pc:docMk/>
            <pc:sldMk cId="1775980789" sldId="263"/>
            <ac:spMk id="4" creationId="{F5635863-81E2-4D91-9905-879E561EC23B}"/>
          </ac:spMkLst>
        </pc:spChg>
        <pc:spChg chg="mod">
          <ac:chgData name="Ivar Yrke" userId="f36eb98d-9700-4ec6-9cfd-67daf3750017" providerId="ADAL" clId="{E0EC9569-B57A-4E28-B6F8-D723FE6BEFB4}" dt="2022-11-28T11:21:02.552" v="1445" actId="20577"/>
          <ac:spMkLst>
            <pc:docMk/>
            <pc:sldMk cId="1775980789" sldId="263"/>
            <ac:spMk id="7" creationId="{89D0CD27-A822-4165-A00D-152EBAB5F02F}"/>
          </ac:spMkLst>
        </pc:spChg>
      </pc:sldChg>
      <pc:sldChg chg="add del">
        <pc:chgData name="Ivar Yrke" userId="f36eb98d-9700-4ec6-9cfd-67daf3750017" providerId="ADAL" clId="{E0EC9569-B57A-4E28-B6F8-D723FE6BEFB4}" dt="2022-11-23T07:38:56.439" v="434" actId="47"/>
        <pc:sldMkLst>
          <pc:docMk/>
          <pc:sldMk cId="2873080859" sldId="263"/>
        </pc:sldMkLst>
      </pc:sldChg>
      <pc:sldChg chg="addSp delSp modSp add mod">
        <pc:chgData name="Ivar Yrke" userId="f36eb98d-9700-4ec6-9cfd-67daf3750017" providerId="ADAL" clId="{E0EC9569-B57A-4E28-B6F8-D723FE6BEFB4}" dt="2022-11-28T11:32:24.553" v="1749" actId="1076"/>
        <pc:sldMkLst>
          <pc:docMk/>
          <pc:sldMk cId="393709490" sldId="264"/>
        </pc:sldMkLst>
        <pc:spChg chg="add mod">
          <ac:chgData name="Ivar Yrke" userId="f36eb98d-9700-4ec6-9cfd-67daf3750017" providerId="ADAL" clId="{E0EC9569-B57A-4E28-B6F8-D723FE6BEFB4}" dt="2022-11-28T07:23:00.369" v="540" actId="404"/>
          <ac:spMkLst>
            <pc:docMk/>
            <pc:sldMk cId="393709490" sldId="264"/>
            <ac:spMk id="2" creationId="{C6F1963A-CEA4-4B72-995D-1F3C45B04934}"/>
          </ac:spMkLst>
        </pc:spChg>
        <pc:spChg chg="del mod">
          <ac:chgData name="Ivar Yrke" userId="f36eb98d-9700-4ec6-9cfd-67daf3750017" providerId="ADAL" clId="{E0EC9569-B57A-4E28-B6F8-D723FE6BEFB4}" dt="2022-11-28T07:18:08.326" v="482" actId="478"/>
          <ac:spMkLst>
            <pc:docMk/>
            <pc:sldMk cId="393709490" sldId="264"/>
            <ac:spMk id="3" creationId="{5F352EF9-4CC6-4686-A232-E64572C341AF}"/>
          </ac:spMkLst>
        </pc:spChg>
        <pc:spChg chg="add del mod">
          <ac:chgData name="Ivar Yrke" userId="f36eb98d-9700-4ec6-9cfd-67daf3750017" providerId="ADAL" clId="{E0EC9569-B57A-4E28-B6F8-D723FE6BEFB4}" dt="2022-11-28T07:18:49.811" v="496" actId="478"/>
          <ac:spMkLst>
            <pc:docMk/>
            <pc:sldMk cId="393709490" sldId="264"/>
            <ac:spMk id="5" creationId="{C25200E6-FF2B-438A-9C01-5F2840E93FBD}"/>
          </ac:spMkLst>
        </pc:spChg>
        <pc:spChg chg="add del mod">
          <ac:chgData name="Ivar Yrke" userId="f36eb98d-9700-4ec6-9cfd-67daf3750017" providerId="ADAL" clId="{E0EC9569-B57A-4E28-B6F8-D723FE6BEFB4}" dt="2022-11-28T07:18:49.208" v="495" actId="478"/>
          <ac:spMkLst>
            <pc:docMk/>
            <pc:sldMk cId="393709490" sldId="264"/>
            <ac:spMk id="6" creationId="{84CC3A00-74D1-4BBB-BDB6-188A7D3BC7BD}"/>
          </ac:spMkLst>
        </pc:spChg>
        <pc:spChg chg="add del mod">
          <ac:chgData name="Ivar Yrke" userId="f36eb98d-9700-4ec6-9cfd-67daf3750017" providerId="ADAL" clId="{E0EC9569-B57A-4E28-B6F8-D723FE6BEFB4}" dt="2022-11-28T07:18:47.708" v="494" actId="478"/>
          <ac:spMkLst>
            <pc:docMk/>
            <pc:sldMk cId="393709490" sldId="264"/>
            <ac:spMk id="7" creationId="{D3A48778-BCA3-4ECE-B88A-6A3AA2F8D282}"/>
          </ac:spMkLst>
        </pc:spChg>
        <pc:spChg chg="add mod">
          <ac:chgData name="Ivar Yrke" userId="f36eb98d-9700-4ec6-9cfd-67daf3750017" providerId="ADAL" clId="{E0EC9569-B57A-4E28-B6F8-D723FE6BEFB4}" dt="2022-11-28T10:52:00.169" v="650" actId="1076"/>
          <ac:spMkLst>
            <pc:docMk/>
            <pc:sldMk cId="393709490" sldId="264"/>
            <ac:spMk id="8" creationId="{1EA6BF71-EA9D-4B8B-885E-6DC7B8BDFF5D}"/>
          </ac:spMkLst>
        </pc:spChg>
        <pc:spChg chg="add mod">
          <ac:chgData name="Ivar Yrke" userId="f36eb98d-9700-4ec6-9cfd-67daf3750017" providerId="ADAL" clId="{E0EC9569-B57A-4E28-B6F8-D723FE6BEFB4}" dt="2022-11-28T07:24:23.449" v="590" actId="255"/>
          <ac:spMkLst>
            <pc:docMk/>
            <pc:sldMk cId="393709490" sldId="264"/>
            <ac:spMk id="9" creationId="{EEF7E4FE-9F17-4C31-BB8C-92053C7F5617}"/>
          </ac:spMkLst>
        </pc:spChg>
        <pc:spChg chg="add mod">
          <ac:chgData name="Ivar Yrke" userId="f36eb98d-9700-4ec6-9cfd-67daf3750017" providerId="ADAL" clId="{E0EC9569-B57A-4E28-B6F8-D723FE6BEFB4}" dt="2022-11-28T07:23:37.471" v="575" actId="20577"/>
          <ac:spMkLst>
            <pc:docMk/>
            <pc:sldMk cId="393709490" sldId="264"/>
            <ac:spMk id="10" creationId="{AE7067C6-3C10-431E-901B-7DD30BE58115}"/>
          </ac:spMkLst>
        </pc:spChg>
        <pc:spChg chg="add mod">
          <ac:chgData name="Ivar Yrke" userId="f36eb98d-9700-4ec6-9cfd-67daf3750017" providerId="ADAL" clId="{E0EC9569-B57A-4E28-B6F8-D723FE6BEFB4}" dt="2022-11-28T10:51:19.181" v="643" actId="255"/>
          <ac:spMkLst>
            <pc:docMk/>
            <pc:sldMk cId="393709490" sldId="264"/>
            <ac:spMk id="11" creationId="{3FC7ACB9-8151-4FE1-8B04-40BA50E62C96}"/>
          </ac:spMkLst>
        </pc:spChg>
        <pc:spChg chg="add del mod">
          <ac:chgData name="Ivar Yrke" userId="f36eb98d-9700-4ec6-9cfd-67daf3750017" providerId="ADAL" clId="{E0EC9569-B57A-4E28-B6F8-D723FE6BEFB4}" dt="2022-11-28T07:20:24.712" v="508"/>
          <ac:spMkLst>
            <pc:docMk/>
            <pc:sldMk cId="393709490" sldId="264"/>
            <ac:spMk id="14" creationId="{3EA2BE55-4265-4CE9-8608-2B60C59C6611}"/>
          </ac:spMkLst>
        </pc:spChg>
        <pc:spChg chg="add mod">
          <ac:chgData name="Ivar Yrke" userId="f36eb98d-9700-4ec6-9cfd-67daf3750017" providerId="ADAL" clId="{E0EC9569-B57A-4E28-B6F8-D723FE6BEFB4}" dt="2022-11-28T07:25:40.830" v="605"/>
          <ac:spMkLst>
            <pc:docMk/>
            <pc:sldMk cId="393709490" sldId="264"/>
            <ac:spMk id="24" creationId="{6E6EAD5C-38D1-4815-823E-26D17B60BB31}"/>
          </ac:spMkLst>
        </pc:spChg>
        <pc:spChg chg="add mod">
          <ac:chgData name="Ivar Yrke" userId="f36eb98d-9700-4ec6-9cfd-67daf3750017" providerId="ADAL" clId="{E0EC9569-B57A-4E28-B6F8-D723FE6BEFB4}" dt="2022-11-28T10:52:21.116" v="652" actId="1076"/>
          <ac:spMkLst>
            <pc:docMk/>
            <pc:sldMk cId="393709490" sldId="264"/>
            <ac:spMk id="29" creationId="{36F8F871-D368-4548-94D7-54899C3656B1}"/>
          </ac:spMkLst>
        </pc:spChg>
        <pc:spChg chg="add mod">
          <ac:chgData name="Ivar Yrke" userId="f36eb98d-9700-4ec6-9cfd-67daf3750017" providerId="ADAL" clId="{E0EC9569-B57A-4E28-B6F8-D723FE6BEFB4}" dt="2022-11-28T11:31:25.476" v="1726" actId="1076"/>
          <ac:spMkLst>
            <pc:docMk/>
            <pc:sldMk cId="393709490" sldId="264"/>
            <ac:spMk id="30" creationId="{F040A6BC-1451-4DA8-A555-B09AAF08FA15}"/>
          </ac:spMkLst>
        </pc:spChg>
        <pc:spChg chg="add mod">
          <ac:chgData name="Ivar Yrke" userId="f36eb98d-9700-4ec6-9cfd-67daf3750017" providerId="ADAL" clId="{E0EC9569-B57A-4E28-B6F8-D723FE6BEFB4}" dt="2022-11-28T11:31:17.968" v="1724" actId="14100"/>
          <ac:spMkLst>
            <pc:docMk/>
            <pc:sldMk cId="393709490" sldId="264"/>
            <ac:spMk id="31" creationId="{3EE99608-633B-4F82-831F-2B8904F9C6C7}"/>
          </ac:spMkLst>
        </pc:spChg>
        <pc:spChg chg="add mod">
          <ac:chgData name="Ivar Yrke" userId="f36eb98d-9700-4ec6-9cfd-67daf3750017" providerId="ADAL" clId="{E0EC9569-B57A-4E28-B6F8-D723FE6BEFB4}" dt="2022-11-28T11:32:24.553" v="1749" actId="1076"/>
          <ac:spMkLst>
            <pc:docMk/>
            <pc:sldMk cId="393709490" sldId="264"/>
            <ac:spMk id="42" creationId="{2A900C63-7124-441E-9327-8C72F4C3FDC6}"/>
          </ac:spMkLst>
        </pc:spChg>
        <pc:spChg chg="add mod">
          <ac:chgData name="Ivar Yrke" userId="f36eb98d-9700-4ec6-9cfd-67daf3750017" providerId="ADAL" clId="{E0EC9569-B57A-4E28-B6F8-D723FE6BEFB4}" dt="2022-11-28T11:27:18.628" v="1721" actId="20577"/>
          <ac:spMkLst>
            <pc:docMk/>
            <pc:sldMk cId="393709490" sldId="264"/>
            <ac:spMk id="43" creationId="{2290C8B4-A6F1-46C8-9015-6C2FDB67FBD2}"/>
          </ac:spMkLst>
        </pc:spChg>
        <pc:spChg chg="add mod">
          <ac:chgData name="Ivar Yrke" userId="f36eb98d-9700-4ec6-9cfd-67daf3750017" providerId="ADAL" clId="{E0EC9569-B57A-4E28-B6F8-D723FE6BEFB4}" dt="2022-11-28T11:31:56.285" v="1747" actId="20577"/>
          <ac:spMkLst>
            <pc:docMk/>
            <pc:sldMk cId="393709490" sldId="264"/>
            <ac:spMk id="44" creationId="{94A5C677-12AD-4791-8A15-63AE66FD7D1B}"/>
          </ac:spMkLst>
        </pc:spChg>
        <pc:cxnChg chg="add">
          <ac:chgData name="Ivar Yrke" userId="f36eb98d-9700-4ec6-9cfd-67daf3750017" providerId="ADAL" clId="{E0EC9569-B57A-4E28-B6F8-D723FE6BEFB4}" dt="2022-11-28T07:20:17.515" v="506" actId="11529"/>
          <ac:cxnSpMkLst>
            <pc:docMk/>
            <pc:sldMk cId="393709490" sldId="264"/>
            <ac:cxnSpMk id="13" creationId="{922A2384-757A-4430-8C92-09F6B9ED3DD9}"/>
          </ac:cxnSpMkLst>
        </pc:cxnChg>
        <pc:cxnChg chg="add mod">
          <ac:chgData name="Ivar Yrke" userId="f36eb98d-9700-4ec6-9cfd-67daf3750017" providerId="ADAL" clId="{E0EC9569-B57A-4E28-B6F8-D723FE6BEFB4}" dt="2022-11-28T07:20:36.814" v="512" actId="14100"/>
          <ac:cxnSpMkLst>
            <pc:docMk/>
            <pc:sldMk cId="393709490" sldId="264"/>
            <ac:cxnSpMk id="15" creationId="{4A36860E-EE72-4EB2-A10B-03AC41097D03}"/>
          </ac:cxnSpMkLst>
        </pc:cxnChg>
        <pc:cxnChg chg="add mod">
          <ac:chgData name="Ivar Yrke" userId="f36eb98d-9700-4ec6-9cfd-67daf3750017" providerId="ADAL" clId="{E0EC9569-B57A-4E28-B6F8-D723FE6BEFB4}" dt="2022-11-28T07:21:33.573" v="516" actId="692"/>
          <ac:cxnSpMkLst>
            <pc:docMk/>
            <pc:sldMk cId="393709490" sldId="264"/>
            <ac:cxnSpMk id="19" creationId="{5EB503FB-6BEC-47FF-8BF5-A5D94303F22E}"/>
          </ac:cxnSpMkLst>
        </pc:cxnChg>
        <pc:cxnChg chg="add mod">
          <ac:chgData name="Ivar Yrke" userId="f36eb98d-9700-4ec6-9cfd-67daf3750017" providerId="ADAL" clId="{E0EC9569-B57A-4E28-B6F8-D723FE6BEFB4}" dt="2022-11-28T07:22:30.277" v="523" actId="14100"/>
          <ac:cxnSpMkLst>
            <pc:docMk/>
            <pc:sldMk cId="393709490" sldId="264"/>
            <ac:cxnSpMk id="21" creationId="{2824E378-DBF2-478A-99FE-CA4DC402FF6D}"/>
          </ac:cxnSpMkLst>
        </pc:cxnChg>
        <pc:cxnChg chg="add mod">
          <ac:chgData name="Ivar Yrke" userId="f36eb98d-9700-4ec6-9cfd-67daf3750017" providerId="ADAL" clId="{E0EC9569-B57A-4E28-B6F8-D723FE6BEFB4}" dt="2022-11-28T10:52:00.169" v="650" actId="1076"/>
          <ac:cxnSpMkLst>
            <pc:docMk/>
            <pc:sldMk cId="393709490" sldId="264"/>
            <ac:cxnSpMk id="25" creationId="{911616A4-671D-4F5E-A277-E463DD674FD9}"/>
          </ac:cxnSpMkLst>
        </pc:cxnChg>
        <pc:cxnChg chg="add mod">
          <ac:chgData name="Ivar Yrke" userId="f36eb98d-9700-4ec6-9cfd-67daf3750017" providerId="ADAL" clId="{E0EC9569-B57A-4E28-B6F8-D723FE6BEFB4}" dt="2022-11-28T11:32:12.358" v="1748" actId="14100"/>
          <ac:cxnSpMkLst>
            <pc:docMk/>
            <pc:sldMk cId="393709490" sldId="264"/>
            <ac:cxnSpMk id="32" creationId="{9387F217-1B9A-4642-A215-FB54107E2D3B}"/>
          </ac:cxnSpMkLst>
        </pc:cxnChg>
        <pc:cxnChg chg="add mod">
          <ac:chgData name="Ivar Yrke" userId="f36eb98d-9700-4ec6-9cfd-67daf3750017" providerId="ADAL" clId="{E0EC9569-B57A-4E28-B6F8-D723FE6BEFB4}" dt="2022-11-28T11:31:25.476" v="1726" actId="1076"/>
          <ac:cxnSpMkLst>
            <pc:docMk/>
            <pc:sldMk cId="393709490" sldId="264"/>
            <ac:cxnSpMk id="36" creationId="{CB91D78B-9FF1-42AA-ADFF-B36EF294C3EB}"/>
          </ac:cxnSpMkLst>
        </pc:cxnChg>
        <pc:cxnChg chg="add mod">
          <ac:chgData name="Ivar Yrke" userId="f36eb98d-9700-4ec6-9cfd-67daf3750017" providerId="ADAL" clId="{E0EC9569-B57A-4E28-B6F8-D723FE6BEFB4}" dt="2022-11-28T11:31:17.968" v="1724" actId="14100"/>
          <ac:cxnSpMkLst>
            <pc:docMk/>
            <pc:sldMk cId="393709490" sldId="264"/>
            <ac:cxnSpMk id="37" creationId="{4C521B8B-D7B7-4C3F-B2D3-9435BB4F8F32}"/>
          </ac:cxnSpMkLst>
        </pc:cxnChg>
        <pc:cxnChg chg="add mod">
          <ac:chgData name="Ivar Yrke" userId="f36eb98d-9700-4ec6-9cfd-67daf3750017" providerId="ADAL" clId="{E0EC9569-B57A-4E28-B6F8-D723FE6BEFB4}" dt="2022-11-28T11:31:46.122" v="1731" actId="14100"/>
          <ac:cxnSpMkLst>
            <pc:docMk/>
            <pc:sldMk cId="393709490" sldId="264"/>
            <ac:cxnSpMk id="48" creationId="{460046C3-E4C3-4348-9E8A-470F889BCBA9}"/>
          </ac:cxnSpMkLst>
        </pc:cxnChg>
      </pc:sldChg>
      <pc:sldChg chg="add del">
        <pc:chgData name="Ivar Yrke" userId="f36eb98d-9700-4ec6-9cfd-67daf3750017" providerId="ADAL" clId="{E0EC9569-B57A-4E28-B6F8-D723FE6BEFB4}" dt="2022-11-23T07:38:57.028" v="435" actId="47"/>
        <pc:sldMkLst>
          <pc:docMk/>
          <pc:sldMk cId="2976271391" sldId="264"/>
        </pc:sldMkLst>
      </pc:sldChg>
      <pc:sldChg chg="delSp modSp new mod">
        <pc:chgData name="Ivar Yrke" userId="f36eb98d-9700-4ec6-9cfd-67daf3750017" providerId="ADAL" clId="{E0EC9569-B57A-4E28-B6F8-D723FE6BEFB4}" dt="2022-11-28T11:24:56.160" v="1707" actId="20577"/>
        <pc:sldMkLst>
          <pc:docMk/>
          <pc:sldMk cId="529016909" sldId="265"/>
        </pc:sldMkLst>
        <pc:spChg chg="del">
          <ac:chgData name="Ivar Yrke" userId="f36eb98d-9700-4ec6-9cfd-67daf3750017" providerId="ADAL" clId="{E0EC9569-B57A-4E28-B6F8-D723FE6BEFB4}" dt="2022-11-28T11:22:23.159" v="1504" actId="478"/>
          <ac:spMkLst>
            <pc:docMk/>
            <pc:sldMk cId="529016909" sldId="265"/>
            <ac:spMk id="2" creationId="{1863C043-79E6-42B3-99BA-EED6B02DDED7}"/>
          </ac:spMkLst>
        </pc:spChg>
        <pc:spChg chg="mod">
          <ac:chgData name="Ivar Yrke" userId="f36eb98d-9700-4ec6-9cfd-67daf3750017" providerId="ADAL" clId="{E0EC9569-B57A-4E28-B6F8-D723FE6BEFB4}" dt="2022-11-28T11:24:56.160" v="1707" actId="20577"/>
          <ac:spMkLst>
            <pc:docMk/>
            <pc:sldMk cId="529016909" sldId="265"/>
            <ac:spMk id="3" creationId="{4DAB85AB-01B1-4880-B3CD-4C68DD241645}"/>
          </ac:spMkLst>
        </pc:spChg>
        <pc:spChg chg="mod">
          <ac:chgData name="Ivar Yrke" userId="f36eb98d-9700-4ec6-9cfd-67daf3750017" providerId="ADAL" clId="{E0EC9569-B57A-4E28-B6F8-D723FE6BEFB4}" dt="2022-11-28T11:22:20.222" v="1503" actId="14100"/>
          <ac:spMkLst>
            <pc:docMk/>
            <pc:sldMk cId="529016909" sldId="265"/>
            <ac:spMk id="4" creationId="{AF616A16-F2AD-47A8-B886-914325BDBD8E}"/>
          </ac:spMkLst>
        </pc:spChg>
        <pc:spChg chg="del">
          <ac:chgData name="Ivar Yrke" userId="f36eb98d-9700-4ec6-9cfd-67daf3750017" providerId="ADAL" clId="{E0EC9569-B57A-4E28-B6F8-D723FE6BEFB4}" dt="2022-11-28T11:21:45.928" v="1447" actId="478"/>
          <ac:spMkLst>
            <pc:docMk/>
            <pc:sldMk cId="529016909" sldId="265"/>
            <ac:spMk id="5" creationId="{B4D2C0AF-F990-4B66-B4AF-AC019514E4C8}"/>
          </ac:spMkLst>
        </pc:spChg>
      </pc:sldChg>
      <pc:sldChg chg="modSp add del mod">
        <pc:chgData name="Ivar Yrke" userId="f36eb98d-9700-4ec6-9cfd-67daf3750017" providerId="ADAL" clId="{E0EC9569-B57A-4E28-B6F8-D723FE6BEFB4}" dt="2022-11-28T11:03:09.191" v="790" actId="47"/>
        <pc:sldMkLst>
          <pc:docMk/>
          <pc:sldMk cId="3490318428" sldId="265"/>
        </pc:sldMkLst>
        <pc:spChg chg="mod">
          <ac:chgData name="Ivar Yrke" userId="f36eb98d-9700-4ec6-9cfd-67daf3750017" providerId="ADAL" clId="{E0EC9569-B57A-4E28-B6F8-D723FE6BEFB4}" dt="2022-11-28T11:02:19.159" v="779" actId="20577"/>
          <ac:spMkLst>
            <pc:docMk/>
            <pc:sldMk cId="3490318428" sldId="265"/>
            <ac:spMk id="7" creationId="{89D0CD27-A822-4165-A00D-152EBAB5F02F}"/>
          </ac:spMkLst>
        </pc:spChg>
      </pc:sldChg>
      <pc:sldChg chg="modSp add mod">
        <pc:chgData name="Ivar Yrke" userId="f36eb98d-9700-4ec6-9cfd-67daf3750017" providerId="ADAL" clId="{E0EC9569-B57A-4E28-B6F8-D723FE6BEFB4}" dt="2022-11-29T10:45:54.392" v="2385" actId="14100"/>
        <pc:sldMkLst>
          <pc:docMk/>
          <pc:sldMk cId="1012585780" sldId="266"/>
        </pc:sldMkLst>
        <pc:spChg chg="mod">
          <ac:chgData name="Ivar Yrke" userId="f36eb98d-9700-4ec6-9cfd-67daf3750017" providerId="ADAL" clId="{E0EC9569-B57A-4E28-B6F8-D723FE6BEFB4}" dt="2022-11-28T11:32:58.544" v="1763" actId="20577"/>
          <ac:spMkLst>
            <pc:docMk/>
            <pc:sldMk cId="1012585780" sldId="266"/>
            <ac:spMk id="4" creationId="{F5635863-81E2-4D91-9905-879E561EC23B}"/>
          </ac:spMkLst>
        </pc:spChg>
        <pc:spChg chg="mod">
          <ac:chgData name="Ivar Yrke" userId="f36eb98d-9700-4ec6-9cfd-67daf3750017" providerId="ADAL" clId="{E0EC9569-B57A-4E28-B6F8-D723FE6BEFB4}" dt="2022-11-29T10:45:54.392" v="2385" actId="14100"/>
          <ac:spMkLst>
            <pc:docMk/>
            <pc:sldMk cId="1012585780" sldId="266"/>
            <ac:spMk id="7" creationId="{89D0CD27-A822-4165-A00D-152EBAB5F02F}"/>
          </ac:spMkLst>
        </pc:spChg>
      </pc:sldChg>
      <pc:sldChg chg="modSp add mod">
        <pc:chgData name="Ivar Yrke" userId="f36eb98d-9700-4ec6-9cfd-67daf3750017" providerId="ADAL" clId="{E0EC9569-B57A-4E28-B6F8-D723FE6BEFB4}" dt="2022-11-29T10:46:59.701" v="2430" actId="20577"/>
        <pc:sldMkLst>
          <pc:docMk/>
          <pc:sldMk cId="2321608404" sldId="267"/>
        </pc:sldMkLst>
        <pc:spChg chg="mod">
          <ac:chgData name="Ivar Yrke" userId="f36eb98d-9700-4ec6-9cfd-67daf3750017" providerId="ADAL" clId="{E0EC9569-B57A-4E28-B6F8-D723FE6BEFB4}" dt="2022-11-29T10:46:59.701" v="2430" actId="20577"/>
          <ac:spMkLst>
            <pc:docMk/>
            <pc:sldMk cId="2321608404" sldId="267"/>
            <ac:spMk id="7" creationId="{89D0CD27-A822-4165-A00D-152EBAB5F02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6BD5B7-9404-40C7-817E-9023E69D5D4D}" type="datetimeFigureOut">
              <a:rPr lang="en-US" smtClean="0"/>
              <a:t>11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AF18D-B48D-49E7-8D29-6F850C173A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7957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73C7EC3-35FE-48E3-9DA5-83D053C36D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4008" t="14296" b="29454"/>
          <a:stretch/>
        </p:blipFill>
        <p:spPr>
          <a:xfrm>
            <a:off x="0" y="0"/>
            <a:ext cx="9264996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963" y="2329977"/>
            <a:ext cx="7597775" cy="3619973"/>
          </a:xfrm>
        </p:spPr>
        <p:txBody>
          <a:bodyPr lIns="0" anchor="t"/>
          <a:lstStyle>
            <a:lvl1pPr algn="l">
              <a:defRPr sz="7001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4963" y="1916113"/>
            <a:ext cx="7597775" cy="226800"/>
          </a:xfrm>
        </p:spPr>
        <p:txBody>
          <a:bodyPr l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3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148639" y="6297825"/>
            <a:ext cx="3708399" cy="226800"/>
          </a:xfrm>
        </p:spPr>
        <p:txBody>
          <a:bodyPr rIns="36000"/>
          <a:lstStyle>
            <a:lvl1pPr algn="r">
              <a:defRPr sz="150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20DC8A-7922-4E87-934E-94417500F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8288" r="70387"/>
          <a:stretch/>
        </p:blipFill>
        <p:spPr>
          <a:xfrm>
            <a:off x="8520185" y="0"/>
            <a:ext cx="3671815" cy="641195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A1B4446B-A7F2-4BBA-ABFF-C054065374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5603" y="6363759"/>
            <a:ext cx="1683184" cy="144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24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stor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803420"/>
            <a:ext cx="3718581" cy="2497230"/>
          </a:xfrm>
        </p:spPr>
        <p:txBody>
          <a:bodyPr anchor="t"/>
          <a:lstStyle>
            <a:lvl1pPr>
              <a:lnSpc>
                <a:spcPct val="100000"/>
              </a:lnSpc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AB4F056-8D2E-43DE-9B1C-57045AB28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233" y="1341438"/>
            <a:ext cx="3686400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E69A02-BC16-4E66-BB7F-88712DA3A2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62993" y="369137"/>
            <a:ext cx="7562247" cy="612052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02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d bilde og grafikk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6">
            <a:extLst>
              <a:ext uri="{FF2B5EF4-FFF2-40B4-BE49-F238E27FC236}">
                <a16:creationId xmlns:a16="http://schemas.microsoft.com/office/drawing/2014/main" id="{3A27129B-9B09-4C4F-96FA-0120442FFF1A}"/>
              </a:ext>
            </a:extLst>
          </p:cNvPr>
          <p:cNvGrpSpPr/>
          <p:nvPr/>
        </p:nvGrpSpPr>
        <p:grpSpPr>
          <a:xfrm>
            <a:off x="5753849" y="389304"/>
            <a:ext cx="6071738" cy="6071650"/>
            <a:chOff x="5753849" y="389304"/>
            <a:chExt cx="6071738" cy="607165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76634209-94FF-4EC7-8676-1CB9ED3DB4F3}"/>
                </a:ext>
              </a:extLst>
            </p:cNvPr>
            <p:cNvSpPr/>
            <p:nvPr/>
          </p:nvSpPr>
          <p:spPr>
            <a:xfrm>
              <a:off x="9396891" y="1603634"/>
              <a:ext cx="1214347" cy="1214330"/>
            </a:xfrm>
            <a:custGeom>
              <a:avLst/>
              <a:gdLst>
                <a:gd name="connsiteX0" fmla="*/ 607174 w 1214347"/>
                <a:gd name="connsiteY0" fmla="*/ 0 h 1214330"/>
                <a:gd name="connsiteX1" fmla="*/ 607174 w 1214347"/>
                <a:gd name="connsiteY1" fmla="*/ 0 h 1214330"/>
                <a:gd name="connsiteX2" fmla="*/ 1214348 w 1214347"/>
                <a:gd name="connsiteY2" fmla="*/ 607165 h 1214330"/>
                <a:gd name="connsiteX3" fmla="*/ 607174 w 1214347"/>
                <a:gd name="connsiteY3" fmla="*/ 1214330 h 1214330"/>
                <a:gd name="connsiteX4" fmla="*/ 0 w 1214347"/>
                <a:gd name="connsiteY4" fmla="*/ 607165 h 1214330"/>
                <a:gd name="connsiteX5" fmla="*/ 607174 w 1214347"/>
                <a:gd name="connsiteY5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4347" h="1214330">
                  <a:moveTo>
                    <a:pt x="607174" y="0"/>
                  </a:moveTo>
                  <a:lnTo>
                    <a:pt x="607174" y="0"/>
                  </a:lnTo>
                  <a:cubicBezTo>
                    <a:pt x="942384" y="0"/>
                    <a:pt x="1214348" y="271959"/>
                    <a:pt x="1214348" y="607165"/>
                  </a:cubicBezTo>
                  <a:cubicBezTo>
                    <a:pt x="1214348" y="942371"/>
                    <a:pt x="942384" y="1214330"/>
                    <a:pt x="607174" y="1214330"/>
                  </a:cubicBez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79E32023-56A1-4315-B81B-5838861C375D}"/>
                </a:ext>
              </a:extLst>
            </p:cNvPr>
            <p:cNvSpPr/>
            <p:nvPr/>
          </p:nvSpPr>
          <p:spPr>
            <a:xfrm>
              <a:off x="8182544" y="2817964"/>
              <a:ext cx="3643042" cy="1214330"/>
            </a:xfrm>
            <a:custGeom>
              <a:avLst/>
              <a:gdLst>
                <a:gd name="connsiteX0" fmla="*/ 607174 w 3643042"/>
                <a:gd name="connsiteY0" fmla="*/ 0 h 1214330"/>
                <a:gd name="connsiteX1" fmla="*/ 3035869 w 3643042"/>
                <a:gd name="connsiteY1" fmla="*/ 0 h 1214330"/>
                <a:gd name="connsiteX2" fmla="*/ 3643043 w 3643042"/>
                <a:gd name="connsiteY2" fmla="*/ 607165 h 1214330"/>
                <a:gd name="connsiteX3" fmla="*/ 3035869 w 3643042"/>
                <a:gd name="connsiteY3" fmla="*/ 1214330 h 1214330"/>
                <a:gd name="connsiteX4" fmla="*/ 607174 w 3643042"/>
                <a:gd name="connsiteY4" fmla="*/ 1214330 h 1214330"/>
                <a:gd name="connsiteX5" fmla="*/ 0 w 3643042"/>
                <a:gd name="connsiteY5" fmla="*/ 607165 h 1214330"/>
                <a:gd name="connsiteX6" fmla="*/ 607174 w 3643042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3042" h="1214330">
                  <a:moveTo>
                    <a:pt x="607174" y="0"/>
                  </a:moveTo>
                  <a:lnTo>
                    <a:pt x="3035869" y="0"/>
                  </a:lnTo>
                  <a:cubicBezTo>
                    <a:pt x="3371080" y="0"/>
                    <a:pt x="3643043" y="271959"/>
                    <a:pt x="3643043" y="607165"/>
                  </a:cubicBezTo>
                  <a:cubicBezTo>
                    <a:pt x="3643043" y="942371"/>
                    <a:pt x="3371080" y="1214330"/>
                    <a:pt x="3035869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C4F2D9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D3D99EC-EC5C-4741-9081-4473B76D70ED}"/>
                </a:ext>
              </a:extLst>
            </p:cNvPr>
            <p:cNvSpPr/>
            <p:nvPr/>
          </p:nvSpPr>
          <p:spPr>
            <a:xfrm>
              <a:off x="5753849" y="389304"/>
              <a:ext cx="2428695" cy="1214330"/>
            </a:xfrm>
            <a:custGeom>
              <a:avLst/>
              <a:gdLst>
                <a:gd name="connsiteX0" fmla="*/ 607174 w 2428695"/>
                <a:gd name="connsiteY0" fmla="*/ 0 h 1214330"/>
                <a:gd name="connsiteX1" fmla="*/ 1821521 w 2428695"/>
                <a:gd name="connsiteY1" fmla="*/ 0 h 1214330"/>
                <a:gd name="connsiteX2" fmla="*/ 2428695 w 2428695"/>
                <a:gd name="connsiteY2" fmla="*/ 607165 h 1214330"/>
                <a:gd name="connsiteX3" fmla="*/ 1821521 w 2428695"/>
                <a:gd name="connsiteY3" fmla="*/ 1214330 h 1214330"/>
                <a:gd name="connsiteX4" fmla="*/ 607174 w 2428695"/>
                <a:gd name="connsiteY4" fmla="*/ 1214330 h 1214330"/>
                <a:gd name="connsiteX5" fmla="*/ 0 w 2428695"/>
                <a:gd name="connsiteY5" fmla="*/ 607165 h 1214330"/>
                <a:gd name="connsiteX6" fmla="*/ 607174 w 2428695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8695" h="1214330">
                  <a:moveTo>
                    <a:pt x="607174" y="0"/>
                  </a:moveTo>
                  <a:lnTo>
                    <a:pt x="1821521" y="0"/>
                  </a:lnTo>
                  <a:cubicBezTo>
                    <a:pt x="2156732" y="0"/>
                    <a:pt x="2428695" y="271959"/>
                    <a:pt x="2428695" y="607165"/>
                  </a:cubicBezTo>
                  <a:cubicBezTo>
                    <a:pt x="2428695" y="942371"/>
                    <a:pt x="2156732" y="1214330"/>
                    <a:pt x="1821521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7AF0B2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692051B-FA3D-40FE-90E6-D826DAF3CA0E}"/>
                </a:ext>
              </a:extLst>
            </p:cNvPr>
            <p:cNvSpPr/>
            <p:nvPr/>
          </p:nvSpPr>
          <p:spPr>
            <a:xfrm>
              <a:off x="9396891" y="524662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F0D91-CA39-4795-A49A-70587AE55346}"/>
                </a:ext>
              </a:extLst>
            </p:cNvPr>
            <p:cNvSpPr/>
            <p:nvPr/>
          </p:nvSpPr>
          <p:spPr>
            <a:xfrm>
              <a:off x="10611239" y="38930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005945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10" name="Subtitle 2">
            <a:extLst>
              <a:ext uri="{FF2B5EF4-FFF2-40B4-BE49-F238E27FC236}">
                <a16:creationId xmlns:a16="http://schemas.microsoft.com/office/drawing/2014/main" id="{FAB4F056-8D2E-43DE-9B1C-57045AB28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3" y="5296513"/>
            <a:ext cx="3919744" cy="971662"/>
          </a:xfrm>
        </p:spPr>
        <p:txBody>
          <a:bodyPr lIns="36000" r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E69A02-BC16-4E66-BB7F-88712DA3A2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1109" y="743037"/>
            <a:ext cx="3658076" cy="533461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F3862DE-0E7D-6647-A684-932C654011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803420"/>
            <a:ext cx="3924300" cy="2497230"/>
          </a:xfrm>
        </p:spPr>
        <p:txBody>
          <a:bodyPr anchor="t"/>
          <a:lstStyle>
            <a:lvl1pPr>
              <a:lnSpc>
                <a:spcPct val="100000"/>
              </a:lnSpc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5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916113"/>
            <a:ext cx="3708400" cy="1421191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4963" y="1341438"/>
            <a:ext cx="3708400" cy="226800"/>
          </a:xfrm>
        </p:spPr>
        <p:txBody>
          <a:bodyPr lIns="36000" rIns="36000" anchor="b"/>
          <a:lstStyle>
            <a:lvl1pPr marL="0" indent="0" algn="l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50895A1-CF8F-4C61-A985-610DEC2E2E9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963" y="5297638"/>
            <a:ext cx="3708400" cy="1224566"/>
          </a:xfrm>
          <a:prstGeom prst="rect">
            <a:avLst/>
          </a:prstGeom>
        </p:spPr>
        <p:txBody>
          <a:bodyPr lIns="36000" tIns="0" rIns="36000" bIns="0"/>
          <a:lstStyle>
            <a:lvl1pPr marL="0" indent="0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8020507-8BDC-495B-90BA-3E4B6D7A318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3735" y="1341438"/>
            <a:ext cx="6426436" cy="5180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Graf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63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 lig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964" y="1916113"/>
            <a:ext cx="11522074" cy="46085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Graf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D7228F-D39A-45F9-A141-3017F0D63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769938"/>
            <a:ext cx="11522074" cy="571500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387D2E1-2535-1848-9495-C138903AE5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33375"/>
            <a:ext cx="11522075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456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323372" y="1916113"/>
            <a:ext cx="9533665" cy="46085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Tabell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6E26A68-806D-F94E-A8A1-C10887F18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1916113"/>
            <a:ext cx="1798637" cy="259523"/>
          </a:xfrm>
        </p:spPr>
        <p:txBody>
          <a:bodyPr anchor="t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15293E5-6601-684A-A2C6-D3F4630F1B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963" y="2924176"/>
            <a:ext cx="1798637" cy="302577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Tx/>
              <a:buNone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99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k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798637" cy="259523"/>
          </a:xfrm>
        </p:spPr>
        <p:txBody>
          <a:bodyPr anchor="t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6CA2A9-C30D-42EE-AD5E-6E9D48B86DF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963" y="1341437"/>
            <a:ext cx="1798637" cy="51831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Tx/>
              <a:buNone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E1ADC21-6A28-4E9D-8769-1CAAD8FFB15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340077" y="333376"/>
            <a:ext cx="9516960" cy="61912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08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41439"/>
            <a:ext cx="8119446" cy="352768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rIns="36000" anchor="t" anchorCtr="0"/>
          <a:lstStyle>
            <a:lvl1pPr marL="0" indent="0" algn="l">
              <a:buNone/>
              <a:defRPr sz="1700" i="1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5E3F770-E0F6-465C-BBC1-78B361B9B8C4}"/>
              </a:ext>
            </a:extLst>
          </p:cNvPr>
          <p:cNvSpPr/>
          <p:nvPr userDrawn="1"/>
        </p:nvSpPr>
        <p:spPr>
          <a:xfrm rot="-2700000">
            <a:off x="1463463" y="1354378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02A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ECF2BD6-E23B-472A-BBF1-E20A3BB2DB49}"/>
              </a:ext>
            </a:extLst>
          </p:cNvPr>
          <p:cNvSpPr/>
          <p:nvPr userDrawn="1"/>
        </p:nvSpPr>
        <p:spPr>
          <a:xfrm rot="-2700000">
            <a:off x="1744452" y="1354378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02A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/>
          </a:p>
        </p:txBody>
      </p:sp>
    </p:spTree>
    <p:extLst>
      <p:ext uri="{BB962C8B-B14F-4D97-AF65-F5344CB8AC3E}">
        <p14:creationId xmlns:p14="http://schemas.microsoft.com/office/powerpoint/2010/main" val="166345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551ED50-D245-9445-A906-0BE077219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69937"/>
            <a:ext cx="11522075" cy="1146175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875F094-D9ED-F543-933A-DC6763B55A0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4961" y="333375"/>
            <a:ext cx="11523600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87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3577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4963" y="1916113"/>
            <a:ext cx="5106469" cy="226800"/>
          </a:xfrm>
        </p:spPr>
        <p:txBody>
          <a:bodyPr l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3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276226"/>
            <a:ext cx="3708400" cy="226800"/>
          </a:xfrm>
        </p:spPr>
        <p:txBody>
          <a:bodyPr lIns="36000" tIns="0" rIns="36000" bIns="0"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1B4446B-A7F2-4BBA-ABFF-C054065374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400" y="397874"/>
            <a:ext cx="1683184" cy="14499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1BB0084-C6EE-2543-A137-401FA40C53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4" y="2329977"/>
            <a:ext cx="5109396" cy="3619973"/>
          </a:xfrm>
        </p:spPr>
        <p:txBody>
          <a:bodyPr lIns="0" anchor="t"/>
          <a:lstStyle>
            <a:lvl1pPr algn="l">
              <a:defRPr sz="5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grpSp>
        <p:nvGrpSpPr>
          <p:cNvPr id="2" name="Graphic 10">
            <a:extLst>
              <a:ext uri="{FF2B5EF4-FFF2-40B4-BE49-F238E27FC236}">
                <a16:creationId xmlns:a16="http://schemas.microsoft.com/office/drawing/2014/main" id="{8D61A240-85A0-4FCE-B46C-B8021C09289C}"/>
              </a:ext>
            </a:extLst>
          </p:cNvPr>
          <p:cNvGrpSpPr/>
          <p:nvPr/>
        </p:nvGrpSpPr>
        <p:grpSpPr>
          <a:xfrm>
            <a:off x="5735851" y="379314"/>
            <a:ext cx="6091105" cy="6091017"/>
            <a:chOff x="5735851" y="379314"/>
            <a:chExt cx="6091105" cy="609101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5EB8161-E565-4DD5-BEFB-11D099AE6540}"/>
                </a:ext>
              </a:extLst>
            </p:cNvPr>
            <p:cNvSpPr/>
            <p:nvPr/>
          </p:nvSpPr>
          <p:spPr>
            <a:xfrm>
              <a:off x="8781403" y="379314"/>
              <a:ext cx="3045552" cy="1522754"/>
            </a:xfrm>
            <a:custGeom>
              <a:avLst/>
              <a:gdLst>
                <a:gd name="connsiteX0" fmla="*/ 761388 w 3045552"/>
                <a:gd name="connsiteY0" fmla="*/ 0 h 1522754"/>
                <a:gd name="connsiteX1" fmla="*/ 2284165 w 3045552"/>
                <a:gd name="connsiteY1" fmla="*/ 0 h 1522754"/>
                <a:gd name="connsiteX2" fmla="*/ 3045553 w 3045552"/>
                <a:gd name="connsiteY2" fmla="*/ 761377 h 1522754"/>
                <a:gd name="connsiteX3" fmla="*/ 2284165 w 3045552"/>
                <a:gd name="connsiteY3" fmla="*/ 1522754 h 1522754"/>
                <a:gd name="connsiteX4" fmla="*/ 761388 w 3045552"/>
                <a:gd name="connsiteY4" fmla="*/ 1522754 h 1522754"/>
                <a:gd name="connsiteX5" fmla="*/ 0 w 3045552"/>
                <a:gd name="connsiteY5" fmla="*/ 761377 h 1522754"/>
                <a:gd name="connsiteX6" fmla="*/ 761388 w 3045552"/>
                <a:gd name="connsiteY6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5552" h="1522754">
                  <a:moveTo>
                    <a:pt x="761388" y="0"/>
                  </a:moveTo>
                  <a:lnTo>
                    <a:pt x="2284165" y="0"/>
                  </a:lnTo>
                  <a:cubicBezTo>
                    <a:pt x="2704831" y="0"/>
                    <a:pt x="3045553" y="340716"/>
                    <a:pt x="3045553" y="761377"/>
                  </a:cubicBezTo>
                  <a:cubicBezTo>
                    <a:pt x="3045553" y="1182038"/>
                    <a:pt x="2704831" y="1522754"/>
                    <a:pt x="2284165" y="1522754"/>
                  </a:cubicBezTo>
                  <a:lnTo>
                    <a:pt x="761388" y="1522754"/>
                  </a:lnTo>
                  <a:cubicBezTo>
                    <a:pt x="340721" y="1522754"/>
                    <a:pt x="0" y="1182038"/>
                    <a:pt x="0" y="761377"/>
                  </a:cubicBezTo>
                  <a:cubicBezTo>
                    <a:pt x="0" y="340716"/>
                    <a:pt x="340721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D2061A7-F2FA-4F97-886F-BF3A54C0B1B7}"/>
                </a:ext>
              </a:extLst>
            </p:cNvPr>
            <p:cNvSpPr/>
            <p:nvPr/>
          </p:nvSpPr>
          <p:spPr>
            <a:xfrm>
              <a:off x="5735851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0B45170-F883-4372-AB40-6375CC91D451}"/>
                </a:ext>
              </a:extLst>
            </p:cNvPr>
            <p:cNvSpPr/>
            <p:nvPr/>
          </p:nvSpPr>
          <p:spPr>
            <a:xfrm>
              <a:off x="10304179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C4F2D9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C749AFA-51A4-47BD-B37F-96871EBF72AF}"/>
                </a:ext>
              </a:extLst>
            </p:cNvPr>
            <p:cNvSpPr/>
            <p:nvPr/>
          </p:nvSpPr>
          <p:spPr>
            <a:xfrm>
              <a:off x="8781403" y="3424822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38807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D970173-6A87-4BFC-87EC-D04AFE918EF8}"/>
                </a:ext>
              </a:extLst>
            </p:cNvPr>
            <p:cNvSpPr/>
            <p:nvPr/>
          </p:nvSpPr>
          <p:spPr>
            <a:xfrm>
              <a:off x="5735851" y="379314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38807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C6ACE94-4986-4C7C-9CD3-7371E2DBDFB5}"/>
                </a:ext>
              </a:extLst>
            </p:cNvPr>
            <p:cNvSpPr/>
            <p:nvPr/>
          </p:nvSpPr>
          <p:spPr>
            <a:xfrm>
              <a:off x="5735851" y="4947576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A6B3921-A274-4614-B3DD-F91E03194E96}"/>
                </a:ext>
              </a:extLst>
            </p:cNvPr>
            <p:cNvSpPr/>
            <p:nvPr/>
          </p:nvSpPr>
          <p:spPr>
            <a:xfrm>
              <a:off x="10304179" y="3424822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3E9C82B-B1B2-45AF-9286-0EB1E8A58E1A}"/>
                </a:ext>
              </a:extLst>
            </p:cNvPr>
            <p:cNvSpPr/>
            <p:nvPr/>
          </p:nvSpPr>
          <p:spPr>
            <a:xfrm>
              <a:off x="8781403" y="4947576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95DEFAF-AF35-44B4-9336-B085B35EDF6B}"/>
                </a:ext>
              </a:extLst>
            </p:cNvPr>
            <p:cNvSpPr/>
            <p:nvPr/>
          </p:nvSpPr>
          <p:spPr>
            <a:xfrm>
              <a:off x="7258627" y="379314"/>
              <a:ext cx="1522776" cy="3045508"/>
            </a:xfrm>
            <a:custGeom>
              <a:avLst/>
              <a:gdLst>
                <a:gd name="connsiteX0" fmla="*/ 761388 w 1522776"/>
                <a:gd name="connsiteY0" fmla="*/ 0 h 3045508"/>
                <a:gd name="connsiteX1" fmla="*/ 761388 w 1522776"/>
                <a:gd name="connsiteY1" fmla="*/ 0 h 3045508"/>
                <a:gd name="connsiteX2" fmla="*/ 0 w 1522776"/>
                <a:gd name="connsiteY2" fmla="*/ 761377 h 3045508"/>
                <a:gd name="connsiteX3" fmla="*/ 0 w 1522776"/>
                <a:gd name="connsiteY3" fmla="*/ 2284132 h 3045508"/>
                <a:gd name="connsiteX4" fmla="*/ 761388 w 1522776"/>
                <a:gd name="connsiteY4" fmla="*/ 3045509 h 3045508"/>
                <a:gd name="connsiteX5" fmla="*/ 1522776 w 1522776"/>
                <a:gd name="connsiteY5" fmla="*/ 2284132 h 3045508"/>
                <a:gd name="connsiteX6" fmla="*/ 1522776 w 1522776"/>
                <a:gd name="connsiteY6" fmla="*/ 761377 h 3045508"/>
                <a:gd name="connsiteX7" fmla="*/ 761388 w 1522776"/>
                <a:gd name="connsiteY7" fmla="*/ 0 h 30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2776" h="3045508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lnTo>
                    <a:pt x="0" y="2284132"/>
                  </a:lnTo>
                  <a:cubicBezTo>
                    <a:pt x="0" y="2704792"/>
                    <a:pt x="340721" y="3045509"/>
                    <a:pt x="761388" y="3045509"/>
                  </a:cubicBezTo>
                  <a:cubicBezTo>
                    <a:pt x="1182055" y="3045509"/>
                    <a:pt x="1522776" y="2704792"/>
                    <a:pt x="1522776" y="2284132"/>
                  </a:cubicBezTo>
                  <a:lnTo>
                    <a:pt x="1522776" y="761377"/>
                  </a:ln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2361C7D-FAF8-42BD-AC24-8668CC828068}"/>
                </a:ext>
              </a:extLst>
            </p:cNvPr>
            <p:cNvSpPr/>
            <p:nvPr/>
          </p:nvSpPr>
          <p:spPr>
            <a:xfrm>
              <a:off x="7258627" y="1902068"/>
              <a:ext cx="1522776" cy="3045508"/>
            </a:xfrm>
            <a:custGeom>
              <a:avLst/>
              <a:gdLst>
                <a:gd name="connsiteX0" fmla="*/ 761388 w 1522776"/>
                <a:gd name="connsiteY0" fmla="*/ 0 h 3045508"/>
                <a:gd name="connsiteX1" fmla="*/ 761388 w 1522776"/>
                <a:gd name="connsiteY1" fmla="*/ 0 h 3045508"/>
                <a:gd name="connsiteX2" fmla="*/ 0 w 1522776"/>
                <a:gd name="connsiteY2" fmla="*/ 761377 h 3045508"/>
                <a:gd name="connsiteX3" fmla="*/ 0 w 1522776"/>
                <a:gd name="connsiteY3" fmla="*/ 2284132 h 3045508"/>
                <a:gd name="connsiteX4" fmla="*/ 761388 w 1522776"/>
                <a:gd name="connsiteY4" fmla="*/ 3045509 h 3045508"/>
                <a:gd name="connsiteX5" fmla="*/ 1522776 w 1522776"/>
                <a:gd name="connsiteY5" fmla="*/ 2284132 h 3045508"/>
                <a:gd name="connsiteX6" fmla="*/ 1522776 w 1522776"/>
                <a:gd name="connsiteY6" fmla="*/ 761377 h 3045508"/>
                <a:gd name="connsiteX7" fmla="*/ 761388 w 1522776"/>
                <a:gd name="connsiteY7" fmla="*/ 0 h 30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2776" h="3045508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lnTo>
                    <a:pt x="0" y="2284132"/>
                  </a:lnTo>
                  <a:cubicBezTo>
                    <a:pt x="0" y="2704792"/>
                    <a:pt x="340721" y="3045509"/>
                    <a:pt x="761388" y="3045509"/>
                  </a:cubicBezTo>
                  <a:cubicBezTo>
                    <a:pt x="1182055" y="3045509"/>
                    <a:pt x="1522776" y="2704792"/>
                    <a:pt x="1522776" y="2284132"/>
                  </a:cubicBezTo>
                  <a:lnTo>
                    <a:pt x="1522776" y="761377"/>
                  </a:ln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B3EAD2E-E6B2-4BAA-9CCC-C64277DD5FAA}"/>
                </a:ext>
              </a:extLst>
            </p:cNvPr>
            <p:cNvSpPr/>
            <p:nvPr/>
          </p:nvSpPr>
          <p:spPr>
            <a:xfrm>
              <a:off x="7258627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C4F2D9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3550195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BEBC3A0-D734-4604-9FC7-250CB84DEC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9137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015945"/>
          </a:solidFill>
        </p:spPr>
        <p:txBody>
          <a:bodyPr lIns="468000" rIns="972000" anchor="ctr" anchorCtr="0"/>
          <a:lstStyle>
            <a:lvl1pPr marL="0" indent="0">
              <a:lnSpc>
                <a:spcPct val="100000"/>
              </a:lnSpc>
              <a:buNone/>
              <a:defRPr sz="36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4E65C3B4-2DEA-4AD9-8319-4ED2A0E077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49138" y="3724274"/>
            <a:ext cx="1619999" cy="1619999"/>
          </a:xfrm>
          <a:prstGeom prst="ellipse">
            <a:avLst/>
          </a:prstGeom>
          <a:solidFill>
            <a:srgbClr val="7BEFB2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20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317BF8-CEC2-4649-94F5-12F566C39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000123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015945"/>
          </a:solidFill>
        </p:spPr>
        <p:txBody>
          <a:bodyPr lIns="1116000" rIns="468000" anchor="ctr" anchorCtr="0"/>
          <a:lstStyle>
            <a:lvl1pPr marL="0" indent="0">
              <a:lnSpc>
                <a:spcPct val="100000"/>
              </a:lnSpc>
              <a:buNone/>
              <a:defRPr sz="36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56D31FE-CDD5-4D8E-B9B7-5F97AFAC3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2739" y="3724274"/>
            <a:ext cx="1619999" cy="1619999"/>
          </a:xfrm>
          <a:prstGeom prst="ellipse">
            <a:avLst/>
          </a:prstGeom>
          <a:solidFill>
            <a:srgbClr val="7BEFB2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862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5">
            <a:extLst>
              <a:ext uri="{FF2B5EF4-FFF2-40B4-BE49-F238E27FC236}">
                <a16:creationId xmlns:a16="http://schemas.microsoft.com/office/drawing/2014/main" id="{313E9F5C-37A4-4686-8EA0-323A664996F8}"/>
              </a:ext>
            </a:extLst>
          </p:cNvPr>
          <p:cNvGrpSpPr/>
          <p:nvPr userDrawn="1"/>
        </p:nvGrpSpPr>
        <p:grpSpPr>
          <a:xfrm>
            <a:off x="4829175" y="3319876"/>
            <a:ext cx="2533650" cy="218248"/>
            <a:chOff x="375603" y="6363759"/>
            <a:chExt cx="1683184" cy="144991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017105C3-6FFE-4835-8472-B5D511824965}"/>
                </a:ext>
              </a:extLst>
            </p:cNvPr>
            <p:cNvSpPr/>
            <p:nvPr/>
          </p:nvSpPr>
          <p:spPr>
            <a:xfrm>
              <a:off x="375445" y="6363601"/>
              <a:ext cx="248852" cy="145936"/>
            </a:xfrm>
            <a:custGeom>
              <a:avLst/>
              <a:gdLst>
                <a:gd name="connsiteX0" fmla="*/ 238451 w 248852"/>
                <a:gd name="connsiteY0" fmla="*/ 10874 h 145936"/>
                <a:gd name="connsiteX1" fmla="*/ 186758 w 248852"/>
                <a:gd name="connsiteY1" fmla="*/ 10874 h 145936"/>
                <a:gd name="connsiteX2" fmla="*/ 135695 w 248852"/>
                <a:gd name="connsiteY2" fmla="*/ 61936 h 145936"/>
                <a:gd name="connsiteX3" fmla="*/ 135064 w 248852"/>
                <a:gd name="connsiteY3" fmla="*/ 10874 h 145936"/>
                <a:gd name="connsiteX4" fmla="*/ 83371 w 248852"/>
                <a:gd name="connsiteY4" fmla="*/ 10874 h 145936"/>
                <a:gd name="connsiteX5" fmla="*/ 10875 w 248852"/>
                <a:gd name="connsiteY5" fmla="*/ 83370 h 145936"/>
                <a:gd name="connsiteX6" fmla="*/ 10875 w 248852"/>
                <a:gd name="connsiteY6" fmla="*/ 135062 h 145936"/>
                <a:gd name="connsiteX7" fmla="*/ 62568 w 248852"/>
                <a:gd name="connsiteY7" fmla="*/ 135062 h 145936"/>
                <a:gd name="connsiteX8" fmla="*/ 113631 w 248852"/>
                <a:gd name="connsiteY8" fmla="*/ 84000 h 145936"/>
                <a:gd name="connsiteX9" fmla="*/ 114261 w 248852"/>
                <a:gd name="connsiteY9" fmla="*/ 135062 h 145936"/>
                <a:gd name="connsiteX10" fmla="*/ 165954 w 248852"/>
                <a:gd name="connsiteY10" fmla="*/ 135062 h 145936"/>
                <a:gd name="connsiteX11" fmla="*/ 238451 w 248852"/>
                <a:gd name="connsiteY11" fmla="*/ 62567 h 145936"/>
                <a:gd name="connsiteX12" fmla="*/ 238451 w 248852"/>
                <a:gd name="connsiteY12" fmla="*/ 10874 h 14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852" h="145936">
                  <a:moveTo>
                    <a:pt x="238451" y="10874"/>
                  </a:moveTo>
                  <a:cubicBezTo>
                    <a:pt x="223952" y="-3625"/>
                    <a:pt x="201257" y="-3625"/>
                    <a:pt x="186758" y="10874"/>
                  </a:cubicBezTo>
                  <a:lnTo>
                    <a:pt x="135695" y="61936"/>
                  </a:lnTo>
                  <a:cubicBezTo>
                    <a:pt x="149564" y="47437"/>
                    <a:pt x="149564" y="24743"/>
                    <a:pt x="135064" y="10874"/>
                  </a:cubicBezTo>
                  <a:cubicBezTo>
                    <a:pt x="120565" y="-3625"/>
                    <a:pt x="97871" y="-3625"/>
                    <a:pt x="83371" y="10874"/>
                  </a:cubicBezTo>
                  <a:lnTo>
                    <a:pt x="10875" y="83370"/>
                  </a:lnTo>
                  <a:cubicBezTo>
                    <a:pt x="-3625" y="97869"/>
                    <a:pt x="-3625" y="120563"/>
                    <a:pt x="10875" y="135062"/>
                  </a:cubicBezTo>
                  <a:cubicBezTo>
                    <a:pt x="25374" y="149561"/>
                    <a:pt x="48068" y="149561"/>
                    <a:pt x="62568" y="135062"/>
                  </a:cubicBezTo>
                  <a:lnTo>
                    <a:pt x="113631" y="84000"/>
                  </a:lnTo>
                  <a:cubicBezTo>
                    <a:pt x="99762" y="98499"/>
                    <a:pt x="99762" y="121194"/>
                    <a:pt x="114261" y="135062"/>
                  </a:cubicBezTo>
                  <a:cubicBezTo>
                    <a:pt x="128760" y="149561"/>
                    <a:pt x="151455" y="149561"/>
                    <a:pt x="165954" y="135062"/>
                  </a:cubicBezTo>
                  <a:lnTo>
                    <a:pt x="238451" y="62567"/>
                  </a:lnTo>
                  <a:cubicBezTo>
                    <a:pt x="252320" y="48068"/>
                    <a:pt x="252320" y="24743"/>
                    <a:pt x="238451" y="1087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91AD4F1-DCDF-4BAF-B1A5-9C94FEF610B3}"/>
                </a:ext>
              </a:extLst>
            </p:cNvPr>
            <p:cNvSpPr/>
            <p:nvPr/>
          </p:nvSpPr>
          <p:spPr>
            <a:xfrm>
              <a:off x="727369" y="6366910"/>
              <a:ext cx="113473" cy="139317"/>
            </a:xfrm>
            <a:custGeom>
              <a:avLst/>
              <a:gdLst>
                <a:gd name="connsiteX0" fmla="*/ 93300 w 113473"/>
                <a:gd name="connsiteY0" fmla="*/ 42237 h 139317"/>
                <a:gd name="connsiteX1" fmla="*/ 93300 w 113473"/>
                <a:gd name="connsiteY1" fmla="*/ 0 h 139317"/>
                <a:gd name="connsiteX2" fmla="*/ 113473 w 113473"/>
                <a:gd name="connsiteY2" fmla="*/ 0 h 139317"/>
                <a:gd name="connsiteX3" fmla="*/ 113473 w 113473"/>
                <a:gd name="connsiteY3" fmla="*/ 139317 h 139317"/>
                <a:gd name="connsiteX4" fmla="*/ 89518 w 113473"/>
                <a:gd name="connsiteY4" fmla="*/ 139317 h 139317"/>
                <a:gd name="connsiteX5" fmla="*/ 46650 w 113473"/>
                <a:gd name="connsiteY5" fmla="*/ 71865 h 139317"/>
                <a:gd name="connsiteX6" fmla="*/ 19543 w 113473"/>
                <a:gd name="connsiteY6" fmla="*/ 27107 h 139317"/>
                <a:gd name="connsiteX7" fmla="*/ 20173 w 113473"/>
                <a:gd name="connsiteY7" fmla="*/ 97081 h 139317"/>
                <a:gd name="connsiteX8" fmla="*/ 20173 w 113473"/>
                <a:gd name="connsiteY8" fmla="*/ 139317 h 139317"/>
                <a:gd name="connsiteX9" fmla="*/ 0 w 113473"/>
                <a:gd name="connsiteY9" fmla="*/ 139317 h 139317"/>
                <a:gd name="connsiteX10" fmla="*/ 0 w 113473"/>
                <a:gd name="connsiteY10" fmla="*/ 0 h 139317"/>
                <a:gd name="connsiteX11" fmla="*/ 23955 w 113473"/>
                <a:gd name="connsiteY11" fmla="*/ 0 h 139317"/>
                <a:gd name="connsiteX12" fmla="*/ 66823 w 113473"/>
                <a:gd name="connsiteY12" fmla="*/ 67452 h 139317"/>
                <a:gd name="connsiteX13" fmla="*/ 93930 w 113473"/>
                <a:gd name="connsiteY13" fmla="*/ 112210 h 139317"/>
                <a:gd name="connsiteX14" fmla="*/ 93300 w 113473"/>
                <a:gd name="connsiteY14" fmla="*/ 4223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3473" h="139317">
                  <a:moveTo>
                    <a:pt x="93300" y="42237"/>
                  </a:moveTo>
                  <a:lnTo>
                    <a:pt x="93300" y="0"/>
                  </a:lnTo>
                  <a:lnTo>
                    <a:pt x="113473" y="0"/>
                  </a:lnTo>
                  <a:lnTo>
                    <a:pt x="113473" y="139317"/>
                  </a:lnTo>
                  <a:lnTo>
                    <a:pt x="89518" y="139317"/>
                  </a:lnTo>
                  <a:lnTo>
                    <a:pt x="46650" y="71865"/>
                  </a:lnTo>
                  <a:cubicBezTo>
                    <a:pt x="34042" y="52323"/>
                    <a:pt x="25216" y="37193"/>
                    <a:pt x="19543" y="27107"/>
                  </a:cubicBezTo>
                  <a:cubicBezTo>
                    <a:pt x="20173" y="42867"/>
                    <a:pt x="20173" y="66192"/>
                    <a:pt x="20173" y="97081"/>
                  </a:cubicBezTo>
                  <a:lnTo>
                    <a:pt x="20173" y="139317"/>
                  </a:lnTo>
                  <a:lnTo>
                    <a:pt x="0" y="139317"/>
                  </a:lnTo>
                  <a:lnTo>
                    <a:pt x="0" y="0"/>
                  </a:lnTo>
                  <a:lnTo>
                    <a:pt x="23955" y="0"/>
                  </a:lnTo>
                  <a:lnTo>
                    <a:pt x="66823" y="67452"/>
                  </a:lnTo>
                  <a:cubicBezTo>
                    <a:pt x="78170" y="85734"/>
                    <a:pt x="87626" y="100863"/>
                    <a:pt x="93930" y="112210"/>
                  </a:cubicBezTo>
                  <a:cubicBezTo>
                    <a:pt x="93300" y="97081"/>
                    <a:pt x="93300" y="73756"/>
                    <a:pt x="93300" y="42237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952AC34-D787-4ABF-AF0F-FE9288CB7382}"/>
                </a:ext>
              </a:extLst>
            </p:cNvPr>
            <p:cNvSpPr/>
            <p:nvPr/>
          </p:nvSpPr>
          <p:spPr>
            <a:xfrm>
              <a:off x="859124" y="6402843"/>
              <a:ext cx="99604" cy="105906"/>
            </a:xfrm>
            <a:custGeom>
              <a:avLst/>
              <a:gdLst>
                <a:gd name="connsiteX0" fmla="*/ 28368 w 99604"/>
                <a:gd name="connsiteY0" fmla="*/ 79430 h 105906"/>
                <a:gd name="connsiteX1" fmla="*/ 49802 w 99604"/>
                <a:gd name="connsiteY1" fmla="*/ 88886 h 105906"/>
                <a:gd name="connsiteX2" fmla="*/ 71236 w 99604"/>
                <a:gd name="connsiteY2" fmla="*/ 79430 h 105906"/>
                <a:gd name="connsiteX3" fmla="*/ 79431 w 99604"/>
                <a:gd name="connsiteY3" fmla="*/ 52953 h 105906"/>
                <a:gd name="connsiteX4" fmla="*/ 71236 w 99604"/>
                <a:gd name="connsiteY4" fmla="*/ 26477 h 105906"/>
                <a:gd name="connsiteX5" fmla="*/ 49802 w 99604"/>
                <a:gd name="connsiteY5" fmla="*/ 17021 h 105906"/>
                <a:gd name="connsiteX6" fmla="*/ 28368 w 99604"/>
                <a:gd name="connsiteY6" fmla="*/ 26477 h 105906"/>
                <a:gd name="connsiteX7" fmla="*/ 20173 w 99604"/>
                <a:gd name="connsiteY7" fmla="*/ 52953 h 105906"/>
                <a:gd name="connsiteX8" fmla="*/ 28368 w 99604"/>
                <a:gd name="connsiteY8" fmla="*/ 79430 h 105906"/>
                <a:gd name="connsiteX9" fmla="*/ 86366 w 99604"/>
                <a:gd name="connsiteY9" fmla="*/ 91407 h 105906"/>
                <a:gd name="connsiteX10" fmla="*/ 49802 w 99604"/>
                <a:gd name="connsiteY10" fmla="*/ 105906 h 105906"/>
                <a:gd name="connsiteX11" fmla="*/ 13869 w 99604"/>
                <a:gd name="connsiteY11" fmla="*/ 91407 h 105906"/>
                <a:gd name="connsiteX12" fmla="*/ 0 w 99604"/>
                <a:gd name="connsiteY12" fmla="*/ 52953 h 105906"/>
                <a:gd name="connsiteX13" fmla="*/ 13869 w 99604"/>
                <a:gd name="connsiteY13" fmla="*/ 14499 h 105906"/>
                <a:gd name="connsiteX14" fmla="*/ 49802 w 99604"/>
                <a:gd name="connsiteY14" fmla="*/ 0 h 105906"/>
                <a:gd name="connsiteX15" fmla="*/ 85735 w 99604"/>
                <a:gd name="connsiteY15" fmla="*/ 14499 h 105906"/>
                <a:gd name="connsiteX16" fmla="*/ 99604 w 99604"/>
                <a:gd name="connsiteY16" fmla="*/ 52953 h 105906"/>
                <a:gd name="connsiteX17" fmla="*/ 86366 w 99604"/>
                <a:gd name="connsiteY17" fmla="*/ 91407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9604" h="105906">
                  <a:moveTo>
                    <a:pt x="28368" y="79430"/>
                  </a:moveTo>
                  <a:cubicBezTo>
                    <a:pt x="33412" y="85734"/>
                    <a:pt x="40976" y="88886"/>
                    <a:pt x="49802" y="88886"/>
                  </a:cubicBezTo>
                  <a:cubicBezTo>
                    <a:pt x="58628" y="88886"/>
                    <a:pt x="66193" y="85734"/>
                    <a:pt x="71236" y="79430"/>
                  </a:cubicBezTo>
                  <a:cubicBezTo>
                    <a:pt x="76279" y="73126"/>
                    <a:pt x="79431" y="64300"/>
                    <a:pt x="79431" y="52953"/>
                  </a:cubicBezTo>
                  <a:cubicBezTo>
                    <a:pt x="79431" y="41606"/>
                    <a:pt x="76910" y="32781"/>
                    <a:pt x="71236" y="26477"/>
                  </a:cubicBezTo>
                  <a:cubicBezTo>
                    <a:pt x="66193" y="20173"/>
                    <a:pt x="58628" y="17021"/>
                    <a:pt x="49802" y="17021"/>
                  </a:cubicBezTo>
                  <a:cubicBezTo>
                    <a:pt x="40976" y="17021"/>
                    <a:pt x="33412" y="20173"/>
                    <a:pt x="28368" y="26477"/>
                  </a:cubicBezTo>
                  <a:cubicBezTo>
                    <a:pt x="23325" y="32781"/>
                    <a:pt x="20173" y="41606"/>
                    <a:pt x="20173" y="52953"/>
                  </a:cubicBezTo>
                  <a:cubicBezTo>
                    <a:pt x="20173" y="64300"/>
                    <a:pt x="22695" y="73126"/>
                    <a:pt x="28368" y="79430"/>
                  </a:cubicBezTo>
                  <a:moveTo>
                    <a:pt x="86366" y="91407"/>
                  </a:moveTo>
                  <a:cubicBezTo>
                    <a:pt x="76910" y="100863"/>
                    <a:pt x="64932" y="105906"/>
                    <a:pt x="49802" y="105906"/>
                  </a:cubicBezTo>
                  <a:cubicBezTo>
                    <a:pt x="34672" y="105906"/>
                    <a:pt x="22695" y="100863"/>
                    <a:pt x="13869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869" y="14499"/>
                  </a:cubicBezTo>
                  <a:cubicBezTo>
                    <a:pt x="22695" y="5043"/>
                    <a:pt x="35303" y="0"/>
                    <a:pt x="49802" y="0"/>
                  </a:cubicBezTo>
                  <a:cubicBezTo>
                    <a:pt x="64932" y="0"/>
                    <a:pt x="76910" y="5043"/>
                    <a:pt x="85735" y="14499"/>
                  </a:cubicBezTo>
                  <a:cubicBezTo>
                    <a:pt x="94561" y="23955"/>
                    <a:pt x="99604" y="37193"/>
                    <a:pt x="99604" y="52953"/>
                  </a:cubicBezTo>
                  <a:cubicBezTo>
                    <a:pt x="99604" y="68713"/>
                    <a:pt x="95191" y="81951"/>
                    <a:pt x="86366" y="91407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7B7FF88-4342-4009-AE08-78DA945B4AA2}"/>
                </a:ext>
              </a:extLst>
            </p:cNvPr>
            <p:cNvSpPr/>
            <p:nvPr/>
          </p:nvSpPr>
          <p:spPr>
            <a:xfrm>
              <a:off x="976379" y="6403473"/>
              <a:ext cx="56106" cy="102754"/>
            </a:xfrm>
            <a:custGeom>
              <a:avLst/>
              <a:gdLst>
                <a:gd name="connsiteX0" fmla="*/ 50432 w 56106"/>
                <a:gd name="connsiteY0" fmla="*/ 0 h 102754"/>
                <a:gd name="connsiteX1" fmla="*/ 56106 w 56106"/>
                <a:gd name="connsiteY1" fmla="*/ 0 h 102754"/>
                <a:gd name="connsiteX2" fmla="*/ 56106 w 56106"/>
                <a:gd name="connsiteY2" fmla="*/ 18912 h 102754"/>
                <a:gd name="connsiteX3" fmla="*/ 51063 w 56106"/>
                <a:gd name="connsiteY3" fmla="*/ 18912 h 102754"/>
                <a:gd name="connsiteX4" fmla="*/ 27738 w 56106"/>
                <a:gd name="connsiteY4" fmla="*/ 26477 h 102754"/>
                <a:gd name="connsiteX5" fmla="*/ 19543 w 56106"/>
                <a:gd name="connsiteY5" fmla="*/ 47910 h 102754"/>
                <a:gd name="connsiteX6" fmla="*/ 19543 w 56106"/>
                <a:gd name="connsiteY6" fmla="*/ 102754 h 102754"/>
                <a:gd name="connsiteX7" fmla="*/ 0 w 56106"/>
                <a:gd name="connsiteY7" fmla="*/ 102754 h 102754"/>
                <a:gd name="connsiteX8" fmla="*/ 0 w 56106"/>
                <a:gd name="connsiteY8" fmla="*/ 1891 h 102754"/>
                <a:gd name="connsiteX9" fmla="*/ 18912 w 56106"/>
                <a:gd name="connsiteY9" fmla="*/ 1891 h 102754"/>
                <a:gd name="connsiteX10" fmla="*/ 18912 w 56106"/>
                <a:gd name="connsiteY10" fmla="*/ 20173 h 102754"/>
                <a:gd name="connsiteX11" fmla="*/ 50432 w 56106"/>
                <a:gd name="connsiteY11" fmla="*/ 0 h 10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106" h="102754">
                  <a:moveTo>
                    <a:pt x="50432" y="0"/>
                  </a:moveTo>
                  <a:cubicBezTo>
                    <a:pt x="53585" y="0"/>
                    <a:pt x="55476" y="0"/>
                    <a:pt x="56106" y="0"/>
                  </a:cubicBezTo>
                  <a:lnTo>
                    <a:pt x="56106" y="18912"/>
                  </a:lnTo>
                  <a:lnTo>
                    <a:pt x="51063" y="18912"/>
                  </a:lnTo>
                  <a:cubicBezTo>
                    <a:pt x="40976" y="18912"/>
                    <a:pt x="33411" y="21433"/>
                    <a:pt x="27738" y="26477"/>
                  </a:cubicBezTo>
                  <a:cubicBezTo>
                    <a:pt x="22064" y="31520"/>
                    <a:pt x="19543" y="38454"/>
                    <a:pt x="19543" y="47910"/>
                  </a:cubicBezTo>
                  <a:lnTo>
                    <a:pt x="19543" y="102754"/>
                  </a:lnTo>
                  <a:lnTo>
                    <a:pt x="0" y="102754"/>
                  </a:lnTo>
                  <a:lnTo>
                    <a:pt x="0" y="1891"/>
                  </a:lnTo>
                  <a:lnTo>
                    <a:pt x="18912" y="1891"/>
                  </a:lnTo>
                  <a:lnTo>
                    <a:pt x="18912" y="20173"/>
                  </a:lnTo>
                  <a:cubicBezTo>
                    <a:pt x="25216" y="6934"/>
                    <a:pt x="35303" y="0"/>
                    <a:pt x="50432" y="0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4AE69E1-4907-49B2-9D78-35CD85FEB994}"/>
                </a:ext>
              </a:extLst>
            </p:cNvPr>
            <p:cNvSpPr/>
            <p:nvPr/>
          </p:nvSpPr>
          <p:spPr>
            <a:xfrm>
              <a:off x="1036268" y="6402843"/>
              <a:ext cx="86995" cy="105906"/>
            </a:xfrm>
            <a:custGeom>
              <a:avLst/>
              <a:gdLst>
                <a:gd name="connsiteX0" fmla="*/ 44128 w 86995"/>
                <a:gd name="connsiteY0" fmla="*/ 105906 h 105906"/>
                <a:gd name="connsiteX1" fmla="*/ 0 w 86995"/>
                <a:gd name="connsiteY1" fmla="*/ 71235 h 105906"/>
                <a:gd name="connsiteX2" fmla="*/ 19543 w 86995"/>
                <a:gd name="connsiteY2" fmla="*/ 71235 h 105906"/>
                <a:gd name="connsiteX3" fmla="*/ 26477 w 86995"/>
                <a:gd name="connsiteY3" fmla="*/ 86364 h 105906"/>
                <a:gd name="connsiteX4" fmla="*/ 44759 w 86995"/>
                <a:gd name="connsiteY4" fmla="*/ 90777 h 105906"/>
                <a:gd name="connsiteX5" fmla="*/ 66823 w 86995"/>
                <a:gd name="connsiteY5" fmla="*/ 76908 h 105906"/>
                <a:gd name="connsiteX6" fmla="*/ 62410 w 86995"/>
                <a:gd name="connsiteY6" fmla="*/ 67452 h 105906"/>
                <a:gd name="connsiteX7" fmla="*/ 45389 w 86995"/>
                <a:gd name="connsiteY7" fmla="*/ 61779 h 105906"/>
                <a:gd name="connsiteX8" fmla="*/ 35303 w 86995"/>
                <a:gd name="connsiteY8" fmla="*/ 59888 h 105906"/>
                <a:gd name="connsiteX9" fmla="*/ 3152 w 86995"/>
                <a:gd name="connsiteY9" fmla="*/ 29629 h 105906"/>
                <a:gd name="connsiteX10" fmla="*/ 13239 w 86995"/>
                <a:gd name="connsiteY10" fmla="*/ 8195 h 105906"/>
                <a:gd name="connsiteX11" fmla="*/ 41607 w 86995"/>
                <a:gd name="connsiteY11" fmla="*/ 0 h 105906"/>
                <a:gd name="connsiteX12" fmla="*/ 84474 w 86995"/>
                <a:gd name="connsiteY12" fmla="*/ 34041 h 105906"/>
                <a:gd name="connsiteX13" fmla="*/ 65562 w 86995"/>
                <a:gd name="connsiteY13" fmla="*/ 34041 h 105906"/>
                <a:gd name="connsiteX14" fmla="*/ 59258 w 86995"/>
                <a:gd name="connsiteY14" fmla="*/ 19542 h 105906"/>
                <a:gd name="connsiteX15" fmla="*/ 41607 w 86995"/>
                <a:gd name="connsiteY15" fmla="*/ 15129 h 105906"/>
                <a:gd name="connsiteX16" fmla="*/ 27107 w 86995"/>
                <a:gd name="connsiteY16" fmla="*/ 18912 h 105906"/>
                <a:gd name="connsiteX17" fmla="*/ 22064 w 86995"/>
                <a:gd name="connsiteY17" fmla="*/ 28998 h 105906"/>
                <a:gd name="connsiteX18" fmla="*/ 26477 w 86995"/>
                <a:gd name="connsiteY18" fmla="*/ 37824 h 105906"/>
                <a:gd name="connsiteX19" fmla="*/ 40976 w 86995"/>
                <a:gd name="connsiteY19" fmla="*/ 42867 h 105906"/>
                <a:gd name="connsiteX20" fmla="*/ 51693 w 86995"/>
                <a:gd name="connsiteY20" fmla="*/ 44758 h 105906"/>
                <a:gd name="connsiteX21" fmla="*/ 78801 w 86995"/>
                <a:gd name="connsiteY21" fmla="*/ 55475 h 105906"/>
                <a:gd name="connsiteX22" fmla="*/ 86996 w 86995"/>
                <a:gd name="connsiteY22" fmla="*/ 75017 h 105906"/>
                <a:gd name="connsiteX23" fmla="*/ 75649 w 86995"/>
                <a:gd name="connsiteY23" fmla="*/ 97711 h 105906"/>
                <a:gd name="connsiteX24" fmla="*/ 44128 w 86995"/>
                <a:gd name="connsiteY24" fmla="*/ 105906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95" h="105906">
                  <a:moveTo>
                    <a:pt x="44128" y="105906"/>
                  </a:moveTo>
                  <a:cubicBezTo>
                    <a:pt x="15760" y="105906"/>
                    <a:pt x="1261" y="94559"/>
                    <a:pt x="0" y="71235"/>
                  </a:cubicBezTo>
                  <a:lnTo>
                    <a:pt x="19543" y="71235"/>
                  </a:lnTo>
                  <a:cubicBezTo>
                    <a:pt x="20173" y="78169"/>
                    <a:pt x="22695" y="83212"/>
                    <a:pt x="26477" y="86364"/>
                  </a:cubicBezTo>
                  <a:cubicBezTo>
                    <a:pt x="30259" y="89516"/>
                    <a:pt x="36564" y="90777"/>
                    <a:pt x="44759" y="90777"/>
                  </a:cubicBezTo>
                  <a:cubicBezTo>
                    <a:pt x="59889" y="90777"/>
                    <a:pt x="66823" y="86364"/>
                    <a:pt x="66823" y="76908"/>
                  </a:cubicBezTo>
                  <a:cubicBezTo>
                    <a:pt x="66823" y="73126"/>
                    <a:pt x="65562" y="69974"/>
                    <a:pt x="62410" y="67452"/>
                  </a:cubicBezTo>
                  <a:cubicBezTo>
                    <a:pt x="59258" y="64931"/>
                    <a:pt x="53585" y="63670"/>
                    <a:pt x="45389" y="61779"/>
                  </a:cubicBezTo>
                  <a:lnTo>
                    <a:pt x="35303" y="59888"/>
                  </a:lnTo>
                  <a:cubicBezTo>
                    <a:pt x="13869" y="56105"/>
                    <a:pt x="3152" y="46019"/>
                    <a:pt x="3152" y="29629"/>
                  </a:cubicBezTo>
                  <a:cubicBezTo>
                    <a:pt x="3152" y="20803"/>
                    <a:pt x="6304" y="13238"/>
                    <a:pt x="13239" y="8195"/>
                  </a:cubicBezTo>
                  <a:cubicBezTo>
                    <a:pt x="20173" y="3152"/>
                    <a:pt x="29629" y="0"/>
                    <a:pt x="41607" y="0"/>
                  </a:cubicBezTo>
                  <a:cubicBezTo>
                    <a:pt x="69345" y="0"/>
                    <a:pt x="83844" y="11347"/>
                    <a:pt x="84474" y="34041"/>
                  </a:cubicBezTo>
                  <a:lnTo>
                    <a:pt x="65562" y="34041"/>
                  </a:lnTo>
                  <a:cubicBezTo>
                    <a:pt x="64932" y="27107"/>
                    <a:pt x="63041" y="22694"/>
                    <a:pt x="59258" y="19542"/>
                  </a:cubicBezTo>
                  <a:cubicBezTo>
                    <a:pt x="55476" y="16390"/>
                    <a:pt x="49802" y="15129"/>
                    <a:pt x="41607" y="15129"/>
                  </a:cubicBezTo>
                  <a:cubicBezTo>
                    <a:pt x="35303" y="15129"/>
                    <a:pt x="30259" y="16390"/>
                    <a:pt x="27107" y="18912"/>
                  </a:cubicBezTo>
                  <a:cubicBezTo>
                    <a:pt x="23955" y="21433"/>
                    <a:pt x="22064" y="24585"/>
                    <a:pt x="22064" y="28998"/>
                  </a:cubicBezTo>
                  <a:cubicBezTo>
                    <a:pt x="22064" y="32781"/>
                    <a:pt x="23325" y="35933"/>
                    <a:pt x="26477" y="37824"/>
                  </a:cubicBezTo>
                  <a:cubicBezTo>
                    <a:pt x="29629" y="39715"/>
                    <a:pt x="34042" y="41606"/>
                    <a:pt x="40976" y="42867"/>
                  </a:cubicBezTo>
                  <a:lnTo>
                    <a:pt x="51693" y="44758"/>
                  </a:lnTo>
                  <a:cubicBezTo>
                    <a:pt x="64301" y="47280"/>
                    <a:pt x="73127" y="50432"/>
                    <a:pt x="78801" y="55475"/>
                  </a:cubicBezTo>
                  <a:cubicBezTo>
                    <a:pt x="84474" y="59888"/>
                    <a:pt x="86996" y="66822"/>
                    <a:pt x="86996" y="75017"/>
                  </a:cubicBezTo>
                  <a:cubicBezTo>
                    <a:pt x="86996" y="85103"/>
                    <a:pt x="83214" y="92668"/>
                    <a:pt x="75649" y="97711"/>
                  </a:cubicBezTo>
                  <a:cubicBezTo>
                    <a:pt x="68084" y="103385"/>
                    <a:pt x="57997" y="105906"/>
                    <a:pt x="44128" y="105906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560E75-22B8-4EE9-9C50-78F0FED1301C}"/>
                </a:ext>
              </a:extLst>
            </p:cNvPr>
            <p:cNvSpPr/>
            <p:nvPr/>
          </p:nvSpPr>
          <p:spPr>
            <a:xfrm>
              <a:off x="1137133" y="6366910"/>
              <a:ext cx="91408" cy="139317"/>
            </a:xfrm>
            <a:custGeom>
              <a:avLst/>
              <a:gdLst>
                <a:gd name="connsiteX0" fmla="*/ 91409 w 91408"/>
                <a:gd name="connsiteY0" fmla="*/ 139317 h 139317"/>
                <a:gd name="connsiteX1" fmla="*/ 68714 w 91408"/>
                <a:gd name="connsiteY1" fmla="*/ 139317 h 139317"/>
                <a:gd name="connsiteX2" fmla="*/ 36564 w 91408"/>
                <a:gd name="connsiteY2" fmla="*/ 88255 h 139317"/>
                <a:gd name="connsiteX3" fmla="*/ 19543 w 91408"/>
                <a:gd name="connsiteY3" fmla="*/ 104646 h 139317"/>
                <a:gd name="connsiteX4" fmla="*/ 19543 w 91408"/>
                <a:gd name="connsiteY4" fmla="*/ 139317 h 139317"/>
                <a:gd name="connsiteX5" fmla="*/ 0 w 91408"/>
                <a:gd name="connsiteY5" fmla="*/ 139317 h 139317"/>
                <a:gd name="connsiteX6" fmla="*/ 0 w 91408"/>
                <a:gd name="connsiteY6" fmla="*/ 0 h 139317"/>
                <a:gd name="connsiteX7" fmla="*/ 19543 w 91408"/>
                <a:gd name="connsiteY7" fmla="*/ 0 h 139317"/>
                <a:gd name="connsiteX8" fmla="*/ 19543 w 91408"/>
                <a:gd name="connsiteY8" fmla="*/ 81951 h 139317"/>
                <a:gd name="connsiteX9" fmla="*/ 64301 w 91408"/>
                <a:gd name="connsiteY9" fmla="*/ 38454 h 139317"/>
                <a:gd name="connsiteX10" fmla="*/ 88887 w 91408"/>
                <a:gd name="connsiteY10" fmla="*/ 38454 h 139317"/>
                <a:gd name="connsiteX11" fmla="*/ 50432 w 91408"/>
                <a:gd name="connsiteY11" fmla="*/ 7564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408" h="139317">
                  <a:moveTo>
                    <a:pt x="91409" y="139317"/>
                  </a:moveTo>
                  <a:lnTo>
                    <a:pt x="68714" y="139317"/>
                  </a:lnTo>
                  <a:lnTo>
                    <a:pt x="36564" y="88255"/>
                  </a:lnTo>
                  <a:lnTo>
                    <a:pt x="19543" y="104646"/>
                  </a:lnTo>
                  <a:lnTo>
                    <a:pt x="19543" y="139317"/>
                  </a:lnTo>
                  <a:lnTo>
                    <a:pt x="0" y="139317"/>
                  </a:lnTo>
                  <a:lnTo>
                    <a:pt x="0" y="0"/>
                  </a:lnTo>
                  <a:lnTo>
                    <a:pt x="19543" y="0"/>
                  </a:lnTo>
                  <a:lnTo>
                    <a:pt x="19543" y="81951"/>
                  </a:lnTo>
                  <a:lnTo>
                    <a:pt x="64301" y="38454"/>
                  </a:lnTo>
                  <a:lnTo>
                    <a:pt x="88887" y="38454"/>
                  </a:lnTo>
                  <a:lnTo>
                    <a:pt x="50432" y="75647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32BBDD3-B7CC-4CD7-9B3B-A557384B3EC5}"/>
                </a:ext>
              </a:extLst>
            </p:cNvPr>
            <p:cNvSpPr/>
            <p:nvPr/>
          </p:nvSpPr>
          <p:spPr>
            <a:xfrm>
              <a:off x="1279605" y="6366910"/>
              <a:ext cx="85735" cy="139317"/>
            </a:xfrm>
            <a:custGeom>
              <a:avLst/>
              <a:gdLst>
                <a:gd name="connsiteX0" fmla="*/ 50432 w 85735"/>
                <a:gd name="connsiteY0" fmla="*/ 35933 h 139317"/>
                <a:gd name="connsiteX1" fmla="*/ 76279 w 85735"/>
                <a:gd name="connsiteY1" fmla="*/ 45388 h 139317"/>
                <a:gd name="connsiteX2" fmla="*/ 85735 w 85735"/>
                <a:gd name="connsiteY2" fmla="*/ 71865 h 139317"/>
                <a:gd name="connsiteX3" fmla="*/ 85735 w 85735"/>
                <a:gd name="connsiteY3" fmla="*/ 139317 h 139317"/>
                <a:gd name="connsiteX4" fmla="*/ 66193 w 85735"/>
                <a:gd name="connsiteY4" fmla="*/ 139317 h 139317"/>
                <a:gd name="connsiteX5" fmla="*/ 66193 w 85735"/>
                <a:gd name="connsiteY5" fmla="*/ 74387 h 139317"/>
                <a:gd name="connsiteX6" fmla="*/ 44759 w 85735"/>
                <a:gd name="connsiteY6" fmla="*/ 52953 h 139317"/>
                <a:gd name="connsiteX7" fmla="*/ 27107 w 85735"/>
                <a:gd name="connsiteY7" fmla="*/ 60518 h 139317"/>
                <a:gd name="connsiteX8" fmla="*/ 19543 w 85735"/>
                <a:gd name="connsiteY8" fmla="*/ 81951 h 139317"/>
                <a:gd name="connsiteX9" fmla="*/ 19543 w 85735"/>
                <a:gd name="connsiteY9" fmla="*/ 138687 h 139317"/>
                <a:gd name="connsiteX10" fmla="*/ 0 w 85735"/>
                <a:gd name="connsiteY10" fmla="*/ 138687 h 139317"/>
                <a:gd name="connsiteX11" fmla="*/ 0 w 85735"/>
                <a:gd name="connsiteY11" fmla="*/ 0 h 139317"/>
                <a:gd name="connsiteX12" fmla="*/ 19543 w 85735"/>
                <a:gd name="connsiteY12" fmla="*/ 0 h 139317"/>
                <a:gd name="connsiteX13" fmla="*/ 19543 w 85735"/>
                <a:gd name="connsiteY13" fmla="*/ 52323 h 139317"/>
                <a:gd name="connsiteX14" fmla="*/ 50432 w 85735"/>
                <a:gd name="connsiteY14" fmla="*/ 35933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735" h="139317">
                  <a:moveTo>
                    <a:pt x="50432" y="35933"/>
                  </a:moveTo>
                  <a:cubicBezTo>
                    <a:pt x="61780" y="35933"/>
                    <a:pt x="69975" y="39085"/>
                    <a:pt x="76279" y="45388"/>
                  </a:cubicBezTo>
                  <a:cubicBezTo>
                    <a:pt x="82583" y="51692"/>
                    <a:pt x="85735" y="60518"/>
                    <a:pt x="85735" y="71865"/>
                  </a:cubicBezTo>
                  <a:lnTo>
                    <a:pt x="85735" y="139317"/>
                  </a:lnTo>
                  <a:lnTo>
                    <a:pt x="66193" y="139317"/>
                  </a:lnTo>
                  <a:lnTo>
                    <a:pt x="66193" y="74387"/>
                  </a:lnTo>
                  <a:cubicBezTo>
                    <a:pt x="66193" y="60518"/>
                    <a:pt x="59258" y="52953"/>
                    <a:pt x="44759" y="52953"/>
                  </a:cubicBezTo>
                  <a:cubicBezTo>
                    <a:pt x="38455" y="52953"/>
                    <a:pt x="32151" y="55475"/>
                    <a:pt x="27107" y="60518"/>
                  </a:cubicBezTo>
                  <a:cubicBezTo>
                    <a:pt x="22064" y="65561"/>
                    <a:pt x="19543" y="73126"/>
                    <a:pt x="19543" y="81951"/>
                  </a:cubicBezTo>
                  <a:lnTo>
                    <a:pt x="19543" y="138687"/>
                  </a:lnTo>
                  <a:lnTo>
                    <a:pt x="0" y="138687"/>
                  </a:lnTo>
                  <a:lnTo>
                    <a:pt x="0" y="0"/>
                  </a:lnTo>
                  <a:lnTo>
                    <a:pt x="19543" y="0"/>
                  </a:lnTo>
                  <a:lnTo>
                    <a:pt x="19543" y="52323"/>
                  </a:lnTo>
                  <a:cubicBezTo>
                    <a:pt x="27107" y="41606"/>
                    <a:pt x="37824" y="35933"/>
                    <a:pt x="50432" y="35933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EA0F207-821D-42A2-B2D0-5B62B6F115FF}"/>
                </a:ext>
              </a:extLst>
            </p:cNvPr>
            <p:cNvSpPr/>
            <p:nvPr/>
          </p:nvSpPr>
          <p:spPr>
            <a:xfrm>
              <a:off x="1382991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8 w 95821"/>
                <a:gd name="connsiteY15" fmla="*/ 91407 h 105906"/>
                <a:gd name="connsiteX16" fmla="*/ 0 w 95821"/>
                <a:gd name="connsiteY16" fmla="*/ 52953 h 105906"/>
                <a:gd name="connsiteX17" fmla="*/ 13238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2410" y="18912"/>
                    <a:pt x="5610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2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8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8" y="14499"/>
                  </a:cubicBezTo>
                  <a:cubicBezTo>
                    <a:pt x="22064" y="5043"/>
                    <a:pt x="33412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203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829E79C-647C-4193-AF7C-1E9AF8D82BF4}"/>
                </a:ext>
              </a:extLst>
            </p:cNvPr>
            <p:cNvSpPr/>
            <p:nvPr/>
          </p:nvSpPr>
          <p:spPr>
            <a:xfrm>
              <a:off x="1496464" y="6366910"/>
              <a:ext cx="19542" cy="139317"/>
            </a:xfrm>
            <a:custGeom>
              <a:avLst/>
              <a:gdLst>
                <a:gd name="connsiteX0" fmla="*/ 0 w 19542"/>
                <a:gd name="connsiteY0" fmla="*/ 0 h 139317"/>
                <a:gd name="connsiteX1" fmla="*/ 19543 w 19542"/>
                <a:gd name="connsiteY1" fmla="*/ 0 h 139317"/>
                <a:gd name="connsiteX2" fmla="*/ 19543 w 19542"/>
                <a:gd name="connsiteY2" fmla="*/ 139317 h 139317"/>
                <a:gd name="connsiteX3" fmla="*/ 0 w 19542"/>
                <a:gd name="connsiteY3" fmla="*/ 13931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42" h="139317">
                  <a:moveTo>
                    <a:pt x="0" y="0"/>
                  </a:moveTo>
                  <a:lnTo>
                    <a:pt x="19543" y="0"/>
                  </a:lnTo>
                  <a:lnTo>
                    <a:pt x="19543" y="139317"/>
                  </a:lnTo>
                  <a:lnTo>
                    <a:pt x="0" y="139317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D0BC48-0539-4028-AB7F-F88CE3F8B735}"/>
                </a:ext>
              </a:extLst>
            </p:cNvPr>
            <p:cNvSpPr/>
            <p:nvPr/>
          </p:nvSpPr>
          <p:spPr>
            <a:xfrm>
              <a:off x="1531137" y="6402843"/>
              <a:ext cx="86996" cy="105906"/>
            </a:xfrm>
            <a:custGeom>
              <a:avLst/>
              <a:gdLst>
                <a:gd name="connsiteX0" fmla="*/ 44128 w 86996"/>
                <a:gd name="connsiteY0" fmla="*/ 105906 h 105906"/>
                <a:gd name="connsiteX1" fmla="*/ 0 w 86996"/>
                <a:gd name="connsiteY1" fmla="*/ 71235 h 105906"/>
                <a:gd name="connsiteX2" fmla="*/ 19543 w 86996"/>
                <a:gd name="connsiteY2" fmla="*/ 71235 h 105906"/>
                <a:gd name="connsiteX3" fmla="*/ 26477 w 86996"/>
                <a:gd name="connsiteY3" fmla="*/ 86364 h 105906"/>
                <a:gd name="connsiteX4" fmla="*/ 44759 w 86996"/>
                <a:gd name="connsiteY4" fmla="*/ 90777 h 105906"/>
                <a:gd name="connsiteX5" fmla="*/ 66823 w 86996"/>
                <a:gd name="connsiteY5" fmla="*/ 76908 h 105906"/>
                <a:gd name="connsiteX6" fmla="*/ 62410 w 86996"/>
                <a:gd name="connsiteY6" fmla="*/ 67452 h 105906"/>
                <a:gd name="connsiteX7" fmla="*/ 45389 w 86996"/>
                <a:gd name="connsiteY7" fmla="*/ 61779 h 105906"/>
                <a:gd name="connsiteX8" fmla="*/ 35303 w 86996"/>
                <a:gd name="connsiteY8" fmla="*/ 59888 h 105906"/>
                <a:gd name="connsiteX9" fmla="*/ 3152 w 86996"/>
                <a:gd name="connsiteY9" fmla="*/ 29629 h 105906"/>
                <a:gd name="connsiteX10" fmla="*/ 13238 w 86996"/>
                <a:gd name="connsiteY10" fmla="*/ 8195 h 105906"/>
                <a:gd name="connsiteX11" fmla="*/ 41607 w 86996"/>
                <a:gd name="connsiteY11" fmla="*/ 0 h 105906"/>
                <a:gd name="connsiteX12" fmla="*/ 84474 w 86996"/>
                <a:gd name="connsiteY12" fmla="*/ 34041 h 105906"/>
                <a:gd name="connsiteX13" fmla="*/ 65562 w 86996"/>
                <a:gd name="connsiteY13" fmla="*/ 34041 h 105906"/>
                <a:gd name="connsiteX14" fmla="*/ 59258 w 86996"/>
                <a:gd name="connsiteY14" fmla="*/ 19542 h 105906"/>
                <a:gd name="connsiteX15" fmla="*/ 41607 w 86996"/>
                <a:gd name="connsiteY15" fmla="*/ 15129 h 105906"/>
                <a:gd name="connsiteX16" fmla="*/ 27107 w 86996"/>
                <a:gd name="connsiteY16" fmla="*/ 18912 h 105906"/>
                <a:gd name="connsiteX17" fmla="*/ 22064 w 86996"/>
                <a:gd name="connsiteY17" fmla="*/ 28998 h 105906"/>
                <a:gd name="connsiteX18" fmla="*/ 26477 w 86996"/>
                <a:gd name="connsiteY18" fmla="*/ 37824 h 105906"/>
                <a:gd name="connsiteX19" fmla="*/ 40976 w 86996"/>
                <a:gd name="connsiteY19" fmla="*/ 42867 h 105906"/>
                <a:gd name="connsiteX20" fmla="*/ 51693 w 86996"/>
                <a:gd name="connsiteY20" fmla="*/ 44758 h 105906"/>
                <a:gd name="connsiteX21" fmla="*/ 78801 w 86996"/>
                <a:gd name="connsiteY21" fmla="*/ 55475 h 105906"/>
                <a:gd name="connsiteX22" fmla="*/ 86996 w 86996"/>
                <a:gd name="connsiteY22" fmla="*/ 75017 h 105906"/>
                <a:gd name="connsiteX23" fmla="*/ 75649 w 86996"/>
                <a:gd name="connsiteY23" fmla="*/ 97711 h 105906"/>
                <a:gd name="connsiteX24" fmla="*/ 44128 w 86996"/>
                <a:gd name="connsiteY24" fmla="*/ 105906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96" h="105906">
                  <a:moveTo>
                    <a:pt x="44128" y="105906"/>
                  </a:moveTo>
                  <a:cubicBezTo>
                    <a:pt x="15760" y="105906"/>
                    <a:pt x="1261" y="94559"/>
                    <a:pt x="0" y="71235"/>
                  </a:cubicBezTo>
                  <a:lnTo>
                    <a:pt x="19543" y="71235"/>
                  </a:lnTo>
                  <a:cubicBezTo>
                    <a:pt x="20173" y="78169"/>
                    <a:pt x="22695" y="83212"/>
                    <a:pt x="26477" y="86364"/>
                  </a:cubicBezTo>
                  <a:cubicBezTo>
                    <a:pt x="30260" y="89516"/>
                    <a:pt x="36564" y="90777"/>
                    <a:pt x="44759" y="90777"/>
                  </a:cubicBezTo>
                  <a:cubicBezTo>
                    <a:pt x="59889" y="90777"/>
                    <a:pt x="66823" y="86364"/>
                    <a:pt x="66823" y="76908"/>
                  </a:cubicBezTo>
                  <a:cubicBezTo>
                    <a:pt x="66823" y="73126"/>
                    <a:pt x="65562" y="69974"/>
                    <a:pt x="62410" y="67452"/>
                  </a:cubicBezTo>
                  <a:cubicBezTo>
                    <a:pt x="59258" y="64931"/>
                    <a:pt x="53585" y="63670"/>
                    <a:pt x="45389" y="61779"/>
                  </a:cubicBezTo>
                  <a:lnTo>
                    <a:pt x="35303" y="59888"/>
                  </a:lnTo>
                  <a:cubicBezTo>
                    <a:pt x="13869" y="56105"/>
                    <a:pt x="3152" y="46019"/>
                    <a:pt x="3152" y="29629"/>
                  </a:cubicBezTo>
                  <a:cubicBezTo>
                    <a:pt x="3152" y="20803"/>
                    <a:pt x="6304" y="13238"/>
                    <a:pt x="13238" y="8195"/>
                  </a:cubicBezTo>
                  <a:cubicBezTo>
                    <a:pt x="20173" y="3152"/>
                    <a:pt x="29629" y="0"/>
                    <a:pt x="41607" y="0"/>
                  </a:cubicBezTo>
                  <a:cubicBezTo>
                    <a:pt x="69345" y="0"/>
                    <a:pt x="83844" y="11347"/>
                    <a:pt x="84474" y="34041"/>
                  </a:cubicBezTo>
                  <a:lnTo>
                    <a:pt x="65562" y="34041"/>
                  </a:lnTo>
                  <a:cubicBezTo>
                    <a:pt x="64932" y="27107"/>
                    <a:pt x="63041" y="22694"/>
                    <a:pt x="59258" y="19542"/>
                  </a:cubicBezTo>
                  <a:cubicBezTo>
                    <a:pt x="55476" y="17021"/>
                    <a:pt x="49802" y="15129"/>
                    <a:pt x="41607" y="15129"/>
                  </a:cubicBezTo>
                  <a:cubicBezTo>
                    <a:pt x="35303" y="15129"/>
                    <a:pt x="30260" y="16390"/>
                    <a:pt x="27107" y="18912"/>
                  </a:cubicBezTo>
                  <a:cubicBezTo>
                    <a:pt x="23955" y="21433"/>
                    <a:pt x="22064" y="24585"/>
                    <a:pt x="22064" y="28998"/>
                  </a:cubicBezTo>
                  <a:cubicBezTo>
                    <a:pt x="22064" y="32781"/>
                    <a:pt x="23325" y="35933"/>
                    <a:pt x="26477" y="37824"/>
                  </a:cubicBezTo>
                  <a:cubicBezTo>
                    <a:pt x="29629" y="39715"/>
                    <a:pt x="34042" y="41606"/>
                    <a:pt x="40976" y="42867"/>
                  </a:cubicBezTo>
                  <a:lnTo>
                    <a:pt x="51693" y="44758"/>
                  </a:lnTo>
                  <a:cubicBezTo>
                    <a:pt x="64301" y="47280"/>
                    <a:pt x="73127" y="50432"/>
                    <a:pt x="78801" y="55475"/>
                  </a:cubicBezTo>
                  <a:cubicBezTo>
                    <a:pt x="84474" y="59888"/>
                    <a:pt x="86996" y="66822"/>
                    <a:pt x="86996" y="75017"/>
                  </a:cubicBezTo>
                  <a:cubicBezTo>
                    <a:pt x="86996" y="85103"/>
                    <a:pt x="83214" y="92668"/>
                    <a:pt x="75649" y="97711"/>
                  </a:cubicBezTo>
                  <a:cubicBezTo>
                    <a:pt x="68084" y="103385"/>
                    <a:pt x="57367" y="105906"/>
                    <a:pt x="44128" y="105906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E06AC76-CF28-4BB8-B0AC-B6CA862B7B4A}"/>
                </a:ext>
              </a:extLst>
            </p:cNvPr>
            <p:cNvSpPr/>
            <p:nvPr/>
          </p:nvSpPr>
          <p:spPr>
            <a:xfrm>
              <a:off x="1627589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8 w 95821"/>
                <a:gd name="connsiteY15" fmla="*/ 91407 h 105906"/>
                <a:gd name="connsiteX16" fmla="*/ 0 w 95821"/>
                <a:gd name="connsiteY16" fmla="*/ 52953 h 105906"/>
                <a:gd name="connsiteX17" fmla="*/ 13238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1780" y="18912"/>
                    <a:pt x="5547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1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8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8" y="14499"/>
                  </a:cubicBezTo>
                  <a:cubicBezTo>
                    <a:pt x="22064" y="5043"/>
                    <a:pt x="33411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140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930EDF-485F-4651-8960-9B73630A6503}"/>
                </a:ext>
              </a:extLst>
            </p:cNvPr>
            <p:cNvSpPr/>
            <p:nvPr/>
          </p:nvSpPr>
          <p:spPr>
            <a:xfrm>
              <a:off x="1741062" y="6402843"/>
              <a:ext cx="85735" cy="103384"/>
            </a:xfrm>
            <a:custGeom>
              <a:avLst/>
              <a:gdLst>
                <a:gd name="connsiteX0" fmla="*/ 50432 w 85735"/>
                <a:gd name="connsiteY0" fmla="*/ 0 h 103384"/>
                <a:gd name="connsiteX1" fmla="*/ 76279 w 85735"/>
                <a:gd name="connsiteY1" fmla="*/ 9456 h 103384"/>
                <a:gd name="connsiteX2" fmla="*/ 85735 w 85735"/>
                <a:gd name="connsiteY2" fmla="*/ 35933 h 103384"/>
                <a:gd name="connsiteX3" fmla="*/ 85735 w 85735"/>
                <a:gd name="connsiteY3" fmla="*/ 103385 h 103384"/>
                <a:gd name="connsiteX4" fmla="*/ 66193 w 85735"/>
                <a:gd name="connsiteY4" fmla="*/ 103385 h 103384"/>
                <a:gd name="connsiteX5" fmla="*/ 66193 w 85735"/>
                <a:gd name="connsiteY5" fmla="*/ 38454 h 103384"/>
                <a:gd name="connsiteX6" fmla="*/ 44759 w 85735"/>
                <a:gd name="connsiteY6" fmla="*/ 17021 h 103384"/>
                <a:gd name="connsiteX7" fmla="*/ 27107 w 85735"/>
                <a:gd name="connsiteY7" fmla="*/ 24585 h 103384"/>
                <a:gd name="connsiteX8" fmla="*/ 19543 w 85735"/>
                <a:gd name="connsiteY8" fmla="*/ 46019 h 103384"/>
                <a:gd name="connsiteX9" fmla="*/ 19543 w 85735"/>
                <a:gd name="connsiteY9" fmla="*/ 102754 h 103384"/>
                <a:gd name="connsiteX10" fmla="*/ 0 w 85735"/>
                <a:gd name="connsiteY10" fmla="*/ 102754 h 103384"/>
                <a:gd name="connsiteX11" fmla="*/ 0 w 85735"/>
                <a:gd name="connsiteY11" fmla="*/ 1891 h 103384"/>
                <a:gd name="connsiteX12" fmla="*/ 18912 w 85735"/>
                <a:gd name="connsiteY12" fmla="*/ 1891 h 103384"/>
                <a:gd name="connsiteX13" fmla="*/ 18912 w 85735"/>
                <a:gd name="connsiteY13" fmla="*/ 17651 h 103384"/>
                <a:gd name="connsiteX14" fmla="*/ 50432 w 85735"/>
                <a:gd name="connsiteY14" fmla="*/ 0 h 10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735" h="103384">
                  <a:moveTo>
                    <a:pt x="50432" y="0"/>
                  </a:moveTo>
                  <a:cubicBezTo>
                    <a:pt x="61780" y="0"/>
                    <a:pt x="69975" y="3152"/>
                    <a:pt x="76279" y="9456"/>
                  </a:cubicBezTo>
                  <a:cubicBezTo>
                    <a:pt x="82583" y="15760"/>
                    <a:pt x="85735" y="24585"/>
                    <a:pt x="85735" y="35933"/>
                  </a:cubicBezTo>
                  <a:lnTo>
                    <a:pt x="85735" y="103385"/>
                  </a:lnTo>
                  <a:lnTo>
                    <a:pt x="66193" y="103385"/>
                  </a:lnTo>
                  <a:lnTo>
                    <a:pt x="66193" y="38454"/>
                  </a:lnTo>
                  <a:cubicBezTo>
                    <a:pt x="66193" y="24585"/>
                    <a:pt x="59258" y="17021"/>
                    <a:pt x="44759" y="17021"/>
                  </a:cubicBezTo>
                  <a:cubicBezTo>
                    <a:pt x="38455" y="17021"/>
                    <a:pt x="32151" y="19542"/>
                    <a:pt x="27107" y="24585"/>
                  </a:cubicBezTo>
                  <a:cubicBezTo>
                    <a:pt x="22064" y="29629"/>
                    <a:pt x="19543" y="37193"/>
                    <a:pt x="19543" y="46019"/>
                  </a:cubicBezTo>
                  <a:lnTo>
                    <a:pt x="19543" y="102754"/>
                  </a:lnTo>
                  <a:lnTo>
                    <a:pt x="0" y="102754"/>
                  </a:lnTo>
                  <a:lnTo>
                    <a:pt x="0" y="1891"/>
                  </a:lnTo>
                  <a:lnTo>
                    <a:pt x="18912" y="1891"/>
                  </a:lnTo>
                  <a:lnTo>
                    <a:pt x="18912" y="17651"/>
                  </a:lnTo>
                  <a:cubicBezTo>
                    <a:pt x="26477" y="5674"/>
                    <a:pt x="37194" y="0"/>
                    <a:pt x="50432" y="0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E0FC0E6-F788-47ED-B60A-6AC9EEAB68D2}"/>
                </a:ext>
              </a:extLst>
            </p:cNvPr>
            <p:cNvSpPr/>
            <p:nvPr/>
          </p:nvSpPr>
          <p:spPr>
            <a:xfrm>
              <a:off x="1844448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9 w 95821"/>
                <a:gd name="connsiteY15" fmla="*/ 91407 h 105906"/>
                <a:gd name="connsiteX16" fmla="*/ 0 w 95821"/>
                <a:gd name="connsiteY16" fmla="*/ 52953 h 105906"/>
                <a:gd name="connsiteX17" fmla="*/ 13239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1780" y="18912"/>
                    <a:pt x="5547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2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9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9" y="14499"/>
                  </a:cubicBezTo>
                  <a:cubicBezTo>
                    <a:pt x="22064" y="5043"/>
                    <a:pt x="33412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140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A4BB130-4E8D-4731-B978-3B26D2E9CBC6}"/>
                </a:ext>
              </a:extLst>
            </p:cNvPr>
            <p:cNvSpPr/>
            <p:nvPr/>
          </p:nvSpPr>
          <p:spPr>
            <a:xfrm>
              <a:off x="1944053" y="6376366"/>
              <a:ext cx="113472" cy="130491"/>
            </a:xfrm>
            <a:custGeom>
              <a:avLst/>
              <a:gdLst>
                <a:gd name="connsiteX0" fmla="*/ 112212 w 113472"/>
                <a:gd name="connsiteY0" fmla="*/ 44758 h 130491"/>
                <a:gd name="connsiteX1" fmla="*/ 112212 w 113472"/>
                <a:gd name="connsiteY1" fmla="*/ 28998 h 130491"/>
                <a:gd name="connsiteX2" fmla="*/ 92039 w 113472"/>
                <a:gd name="connsiteY2" fmla="*/ 28998 h 130491"/>
                <a:gd name="connsiteX3" fmla="*/ 92039 w 113472"/>
                <a:gd name="connsiteY3" fmla="*/ 0 h 130491"/>
                <a:gd name="connsiteX4" fmla="*/ 72497 w 113472"/>
                <a:gd name="connsiteY4" fmla="*/ 0 h 130491"/>
                <a:gd name="connsiteX5" fmla="*/ 72497 w 113472"/>
                <a:gd name="connsiteY5" fmla="*/ 28998 h 130491"/>
                <a:gd name="connsiteX6" fmla="*/ 56736 w 113472"/>
                <a:gd name="connsiteY6" fmla="*/ 28998 h 130491"/>
                <a:gd name="connsiteX7" fmla="*/ 56106 w 113472"/>
                <a:gd name="connsiteY7" fmla="*/ 28998 h 130491"/>
                <a:gd name="connsiteX8" fmla="*/ 35933 w 113472"/>
                <a:gd name="connsiteY8" fmla="*/ 28998 h 130491"/>
                <a:gd name="connsiteX9" fmla="*/ 35933 w 113472"/>
                <a:gd name="connsiteY9" fmla="*/ 0 h 130491"/>
                <a:gd name="connsiteX10" fmla="*/ 16390 w 113472"/>
                <a:gd name="connsiteY10" fmla="*/ 0 h 130491"/>
                <a:gd name="connsiteX11" fmla="*/ 16390 w 113472"/>
                <a:gd name="connsiteY11" fmla="*/ 28998 h 130491"/>
                <a:gd name="connsiteX12" fmla="*/ 0 w 113472"/>
                <a:gd name="connsiteY12" fmla="*/ 28998 h 130491"/>
                <a:gd name="connsiteX13" fmla="*/ 0 w 113472"/>
                <a:gd name="connsiteY13" fmla="*/ 44758 h 130491"/>
                <a:gd name="connsiteX14" fmla="*/ 16390 w 113472"/>
                <a:gd name="connsiteY14" fmla="*/ 44758 h 130491"/>
                <a:gd name="connsiteX15" fmla="*/ 16390 w 113472"/>
                <a:gd name="connsiteY15" fmla="*/ 107167 h 130491"/>
                <a:gd name="connsiteX16" fmla="*/ 23325 w 113472"/>
                <a:gd name="connsiteY16" fmla="*/ 124818 h 130491"/>
                <a:gd name="connsiteX17" fmla="*/ 44759 w 113472"/>
                <a:gd name="connsiteY17" fmla="*/ 130492 h 130491"/>
                <a:gd name="connsiteX18" fmla="*/ 56736 w 113472"/>
                <a:gd name="connsiteY18" fmla="*/ 129862 h 130491"/>
                <a:gd name="connsiteX19" fmla="*/ 56736 w 113472"/>
                <a:gd name="connsiteY19" fmla="*/ 114102 h 130491"/>
                <a:gd name="connsiteX20" fmla="*/ 47911 w 113472"/>
                <a:gd name="connsiteY20" fmla="*/ 114102 h 130491"/>
                <a:gd name="connsiteX21" fmla="*/ 39085 w 113472"/>
                <a:gd name="connsiteY21" fmla="*/ 112210 h 130491"/>
                <a:gd name="connsiteX22" fmla="*/ 36564 w 113472"/>
                <a:gd name="connsiteY22" fmla="*/ 105906 h 130491"/>
                <a:gd name="connsiteX23" fmla="*/ 36564 w 113472"/>
                <a:gd name="connsiteY23" fmla="*/ 44758 h 130491"/>
                <a:gd name="connsiteX24" fmla="*/ 56736 w 113472"/>
                <a:gd name="connsiteY24" fmla="*/ 44758 h 130491"/>
                <a:gd name="connsiteX25" fmla="*/ 57367 w 113472"/>
                <a:gd name="connsiteY25" fmla="*/ 44758 h 130491"/>
                <a:gd name="connsiteX26" fmla="*/ 73127 w 113472"/>
                <a:gd name="connsiteY26" fmla="*/ 44758 h 130491"/>
                <a:gd name="connsiteX27" fmla="*/ 73127 w 113472"/>
                <a:gd name="connsiteY27" fmla="*/ 107167 h 130491"/>
                <a:gd name="connsiteX28" fmla="*/ 80062 w 113472"/>
                <a:gd name="connsiteY28" fmla="*/ 124818 h 130491"/>
                <a:gd name="connsiteX29" fmla="*/ 101495 w 113472"/>
                <a:gd name="connsiteY29" fmla="*/ 130492 h 130491"/>
                <a:gd name="connsiteX30" fmla="*/ 113473 w 113472"/>
                <a:gd name="connsiteY30" fmla="*/ 129862 h 130491"/>
                <a:gd name="connsiteX31" fmla="*/ 113473 w 113472"/>
                <a:gd name="connsiteY31" fmla="*/ 114102 h 130491"/>
                <a:gd name="connsiteX32" fmla="*/ 104647 w 113472"/>
                <a:gd name="connsiteY32" fmla="*/ 114102 h 130491"/>
                <a:gd name="connsiteX33" fmla="*/ 95822 w 113472"/>
                <a:gd name="connsiteY33" fmla="*/ 112210 h 130491"/>
                <a:gd name="connsiteX34" fmla="*/ 93300 w 113472"/>
                <a:gd name="connsiteY34" fmla="*/ 105906 h 130491"/>
                <a:gd name="connsiteX35" fmla="*/ 93300 w 113472"/>
                <a:gd name="connsiteY35" fmla="*/ 44758 h 130491"/>
                <a:gd name="connsiteX36" fmla="*/ 112212 w 113472"/>
                <a:gd name="connsiteY36" fmla="*/ 44758 h 13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3472" h="130491">
                  <a:moveTo>
                    <a:pt x="112212" y="44758"/>
                  </a:moveTo>
                  <a:lnTo>
                    <a:pt x="112212" y="28998"/>
                  </a:lnTo>
                  <a:lnTo>
                    <a:pt x="92039" y="28998"/>
                  </a:lnTo>
                  <a:lnTo>
                    <a:pt x="92039" y="0"/>
                  </a:lnTo>
                  <a:lnTo>
                    <a:pt x="72497" y="0"/>
                  </a:lnTo>
                  <a:lnTo>
                    <a:pt x="72497" y="28998"/>
                  </a:lnTo>
                  <a:lnTo>
                    <a:pt x="56736" y="28998"/>
                  </a:lnTo>
                  <a:lnTo>
                    <a:pt x="56106" y="28998"/>
                  </a:lnTo>
                  <a:lnTo>
                    <a:pt x="35933" y="28998"/>
                  </a:lnTo>
                  <a:lnTo>
                    <a:pt x="35933" y="0"/>
                  </a:lnTo>
                  <a:lnTo>
                    <a:pt x="16390" y="0"/>
                  </a:lnTo>
                  <a:lnTo>
                    <a:pt x="16390" y="28998"/>
                  </a:lnTo>
                  <a:lnTo>
                    <a:pt x="0" y="28998"/>
                  </a:lnTo>
                  <a:lnTo>
                    <a:pt x="0" y="44758"/>
                  </a:lnTo>
                  <a:lnTo>
                    <a:pt x="16390" y="44758"/>
                  </a:lnTo>
                  <a:lnTo>
                    <a:pt x="16390" y="107167"/>
                  </a:lnTo>
                  <a:cubicBezTo>
                    <a:pt x="16390" y="115362"/>
                    <a:pt x="18912" y="121036"/>
                    <a:pt x="23325" y="124818"/>
                  </a:cubicBezTo>
                  <a:cubicBezTo>
                    <a:pt x="27738" y="128601"/>
                    <a:pt x="34672" y="130492"/>
                    <a:pt x="44759" y="130492"/>
                  </a:cubicBezTo>
                  <a:cubicBezTo>
                    <a:pt x="48541" y="130492"/>
                    <a:pt x="52324" y="130492"/>
                    <a:pt x="56736" y="129862"/>
                  </a:cubicBezTo>
                  <a:lnTo>
                    <a:pt x="56736" y="114102"/>
                  </a:lnTo>
                  <a:lnTo>
                    <a:pt x="47911" y="114102"/>
                  </a:lnTo>
                  <a:cubicBezTo>
                    <a:pt x="43498" y="114102"/>
                    <a:pt x="40976" y="113471"/>
                    <a:pt x="39085" y="112210"/>
                  </a:cubicBezTo>
                  <a:cubicBezTo>
                    <a:pt x="37194" y="110950"/>
                    <a:pt x="36564" y="108428"/>
                    <a:pt x="36564" y="105906"/>
                  </a:cubicBezTo>
                  <a:lnTo>
                    <a:pt x="36564" y="44758"/>
                  </a:lnTo>
                  <a:lnTo>
                    <a:pt x="56736" y="44758"/>
                  </a:lnTo>
                  <a:lnTo>
                    <a:pt x="57367" y="44758"/>
                  </a:lnTo>
                  <a:lnTo>
                    <a:pt x="73127" y="44758"/>
                  </a:lnTo>
                  <a:lnTo>
                    <a:pt x="73127" y="107167"/>
                  </a:lnTo>
                  <a:cubicBezTo>
                    <a:pt x="73127" y="115362"/>
                    <a:pt x="75649" y="121036"/>
                    <a:pt x="80062" y="124818"/>
                  </a:cubicBezTo>
                  <a:cubicBezTo>
                    <a:pt x="84474" y="128601"/>
                    <a:pt x="91409" y="130492"/>
                    <a:pt x="101495" y="130492"/>
                  </a:cubicBezTo>
                  <a:cubicBezTo>
                    <a:pt x="105278" y="130492"/>
                    <a:pt x="109060" y="130492"/>
                    <a:pt x="113473" y="129862"/>
                  </a:cubicBezTo>
                  <a:lnTo>
                    <a:pt x="113473" y="114102"/>
                  </a:lnTo>
                  <a:lnTo>
                    <a:pt x="104647" y="114102"/>
                  </a:lnTo>
                  <a:cubicBezTo>
                    <a:pt x="100235" y="114102"/>
                    <a:pt x="97713" y="113471"/>
                    <a:pt x="95822" y="112210"/>
                  </a:cubicBezTo>
                  <a:cubicBezTo>
                    <a:pt x="93931" y="110950"/>
                    <a:pt x="93300" y="108428"/>
                    <a:pt x="93300" y="105906"/>
                  </a:cubicBezTo>
                  <a:lnTo>
                    <a:pt x="93300" y="44758"/>
                  </a:lnTo>
                  <a:lnTo>
                    <a:pt x="112212" y="44758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326621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B8F7A5D8-E6E3-469D-AFA8-C4EB8962C7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343637"/>
            <a:ext cx="11522075" cy="51809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248025" indent="-124802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+mj-lt"/>
              <a:buAutoNum type="arabicPeriod"/>
              <a:defRPr sz="5001" b="0" i="0" u="none" cap="none">
                <a:solidFill>
                  <a:schemeClr val="tx2"/>
                </a:solidFill>
                <a:latin typeface="+mn-lt"/>
              </a:defRPr>
            </a:lvl1pPr>
            <a:lvl2pPr marL="1704975" indent="-447675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4500" b="0" i="0" u="none" cap="none">
                <a:solidFill>
                  <a:schemeClr val="tx2"/>
                </a:solidFill>
                <a:latin typeface="+mn-lt"/>
              </a:defRPr>
            </a:lvl2pPr>
            <a:lvl3pPr marL="2152650" indent="-4476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4000" b="0" i="0" u="none" cap="none">
                <a:solidFill>
                  <a:schemeClr val="tx2"/>
                </a:solidFill>
                <a:latin typeface="+mn-lt"/>
              </a:defRPr>
            </a:lvl3pPr>
            <a:lvl4pPr marL="2514600" indent="-36195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3500" b="0" i="0" u="none" cap="none">
                <a:solidFill>
                  <a:schemeClr val="tx2"/>
                </a:solidFill>
                <a:latin typeface="+mn-lt"/>
              </a:defRPr>
            </a:lvl4pPr>
            <a:lvl5pPr marL="2867025" indent="-35242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3000" b="0" i="0" u="none" cap="none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tel 6">
            <a:extLst>
              <a:ext uri="{FF2B5EF4-FFF2-40B4-BE49-F238E27FC236}">
                <a16:creationId xmlns:a16="http://schemas.microsoft.com/office/drawing/2014/main" id="{A5482343-1915-D341-B307-5AA1F67E3C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33377"/>
            <a:ext cx="11522075" cy="226800"/>
          </a:xfrm>
        </p:spPr>
        <p:txBody>
          <a:bodyPr lIns="36000" rIns="36000" anchor="t" anchorCtr="0"/>
          <a:lstStyle>
            <a:lvl1pPr>
              <a:lnSpc>
                <a:spcPct val="100000"/>
              </a:lnSpc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92397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9222" y="1915515"/>
            <a:ext cx="7365587" cy="3596236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249222" y="1223456"/>
            <a:ext cx="7365587" cy="456265"/>
          </a:xfrm>
        </p:spPr>
        <p:txBody>
          <a:bodyPr lIns="36000" rIns="36000" anchor="b"/>
          <a:lstStyle>
            <a:lvl1pPr marL="0" indent="0" algn="l">
              <a:buNone/>
              <a:defRPr sz="17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E980BDB-285D-4E70-A0C6-4C1D4AF5BE10}"/>
              </a:ext>
            </a:extLst>
          </p:cNvPr>
          <p:cNvSpPr/>
          <p:nvPr userDrawn="1"/>
        </p:nvSpPr>
        <p:spPr>
          <a:xfrm rot="5400000">
            <a:off x="10759167" y="5437591"/>
            <a:ext cx="1449387" cy="724683"/>
          </a:xfrm>
          <a:custGeom>
            <a:avLst/>
            <a:gdLst>
              <a:gd name="connsiteX0" fmla="*/ 761388 w 3045552"/>
              <a:gd name="connsiteY0" fmla="*/ 0 h 1522754"/>
              <a:gd name="connsiteX1" fmla="*/ 2284165 w 3045552"/>
              <a:gd name="connsiteY1" fmla="*/ 0 h 1522754"/>
              <a:gd name="connsiteX2" fmla="*/ 3045553 w 3045552"/>
              <a:gd name="connsiteY2" fmla="*/ 761377 h 1522754"/>
              <a:gd name="connsiteX3" fmla="*/ 2284165 w 3045552"/>
              <a:gd name="connsiteY3" fmla="*/ 1522754 h 1522754"/>
              <a:gd name="connsiteX4" fmla="*/ 761388 w 3045552"/>
              <a:gd name="connsiteY4" fmla="*/ 1522754 h 1522754"/>
              <a:gd name="connsiteX5" fmla="*/ 0 w 3045552"/>
              <a:gd name="connsiteY5" fmla="*/ 761377 h 1522754"/>
              <a:gd name="connsiteX6" fmla="*/ 761388 w 3045552"/>
              <a:gd name="connsiteY6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45552" h="1522754">
                <a:moveTo>
                  <a:pt x="761388" y="0"/>
                </a:moveTo>
                <a:lnTo>
                  <a:pt x="2284165" y="0"/>
                </a:lnTo>
                <a:cubicBezTo>
                  <a:pt x="2704831" y="0"/>
                  <a:pt x="3045553" y="340716"/>
                  <a:pt x="3045553" y="761377"/>
                </a:cubicBezTo>
                <a:cubicBezTo>
                  <a:pt x="3045553" y="1182038"/>
                  <a:pt x="2704831" y="1522754"/>
                  <a:pt x="2284165" y="1522754"/>
                </a:cubicBezTo>
                <a:lnTo>
                  <a:pt x="761388" y="1522754"/>
                </a:lnTo>
                <a:cubicBezTo>
                  <a:pt x="340721" y="1522754"/>
                  <a:pt x="0" y="1182038"/>
                  <a:pt x="0" y="761377"/>
                </a:cubicBezTo>
                <a:cubicBezTo>
                  <a:pt x="0" y="340716"/>
                  <a:pt x="340721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C04E5D9-B8BE-4EB4-B26B-FE390532EBF0}"/>
              </a:ext>
            </a:extLst>
          </p:cNvPr>
          <p:cNvSpPr/>
          <p:nvPr userDrawn="1"/>
        </p:nvSpPr>
        <p:spPr>
          <a:xfrm rot="5400000">
            <a:off x="10396831" y="3625858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FEC0CBE6-2887-4F01-8CA1-9973129602FC}"/>
              </a:ext>
            </a:extLst>
          </p:cNvPr>
          <p:cNvSpPr/>
          <p:nvPr userDrawn="1"/>
        </p:nvSpPr>
        <p:spPr>
          <a:xfrm rot="5400000">
            <a:off x="10396831" y="5075244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8B856E4-148F-4869-8577-15B85BD8FE4D}"/>
              </a:ext>
            </a:extLst>
          </p:cNvPr>
          <p:cNvSpPr/>
          <p:nvPr userDrawn="1"/>
        </p:nvSpPr>
        <p:spPr>
          <a:xfrm rot="5400000">
            <a:off x="9672149" y="5075245"/>
            <a:ext cx="724693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6803746-AB8A-41EC-9A1A-68EAA04DA473}"/>
              </a:ext>
            </a:extLst>
          </p:cNvPr>
          <p:cNvSpPr/>
          <p:nvPr userDrawn="1"/>
        </p:nvSpPr>
        <p:spPr>
          <a:xfrm rot="5400000">
            <a:off x="11121514" y="3625858"/>
            <a:ext cx="724693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2F42EEA-B370-4097-AC96-AA8A1364DC57}"/>
              </a:ext>
            </a:extLst>
          </p:cNvPr>
          <p:cNvSpPr/>
          <p:nvPr userDrawn="1"/>
        </p:nvSpPr>
        <p:spPr>
          <a:xfrm rot="5400000">
            <a:off x="9672149" y="5799938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B1AD557-3E86-4BC2-B633-C074E185AF3F}"/>
              </a:ext>
            </a:extLst>
          </p:cNvPr>
          <p:cNvSpPr/>
          <p:nvPr userDrawn="1"/>
        </p:nvSpPr>
        <p:spPr>
          <a:xfrm rot="5400000">
            <a:off x="8947466" y="5075245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F452FCC-6222-4C0C-B42B-440984EDBC5E}"/>
              </a:ext>
            </a:extLst>
          </p:cNvPr>
          <p:cNvSpPr/>
          <p:nvPr userDrawn="1"/>
        </p:nvSpPr>
        <p:spPr>
          <a:xfrm rot="5400000">
            <a:off x="10759173" y="3988210"/>
            <a:ext cx="724693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58BD899-3085-4CE3-BC4E-2F03978AA82A}"/>
              </a:ext>
            </a:extLst>
          </p:cNvPr>
          <p:cNvSpPr/>
          <p:nvPr userDrawn="1"/>
        </p:nvSpPr>
        <p:spPr>
          <a:xfrm rot="5400000">
            <a:off x="10034490" y="3988210"/>
            <a:ext cx="724693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53A4DED-F339-41A8-852D-7F8392F9A348}"/>
              </a:ext>
            </a:extLst>
          </p:cNvPr>
          <p:cNvSpPr/>
          <p:nvPr userDrawn="1"/>
        </p:nvSpPr>
        <p:spPr>
          <a:xfrm rot="5400000">
            <a:off x="10396831" y="4350552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606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4964" y="2548966"/>
            <a:ext cx="11522074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2914922"/>
            <a:ext cx="11522074" cy="3609704"/>
          </a:xfrm>
          <a:prstGeom prst="rect">
            <a:avLst/>
          </a:prstGeom>
        </p:spPr>
        <p:txBody>
          <a:bodyPr lIns="36000" tIns="0" rIns="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AC809EE-3F49-2D4E-8F85-316813737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69938"/>
            <a:ext cx="11522075" cy="990496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901C5B3-DC6C-E84A-9BB2-7FDB44B0F3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33375"/>
            <a:ext cx="11522075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92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4963" y="2548966"/>
            <a:ext cx="3708400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0CB6E16-7AD9-4BFF-9C3F-E3D6979B5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2914922"/>
            <a:ext cx="3708400" cy="3609704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90C7976-4FD2-43E0-9B2F-7A53D2C34C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9263" y="2914922"/>
            <a:ext cx="3673475" cy="3609704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9E6322A-D46D-46B2-8113-B412BF356C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48637" y="2914922"/>
            <a:ext cx="3708401" cy="3609704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A05E1C6-6C57-4909-AAF0-F941974E02B6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4259263" y="2548965"/>
            <a:ext cx="3673475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8C938D6-1061-47E7-AD16-607F5E7F3E61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8148637" y="2548965"/>
            <a:ext cx="3708401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069A0F9-BB6E-2E42-BA17-FD6E8B4D4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69938"/>
            <a:ext cx="11522075" cy="990496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8AC478F-713F-8848-9CB9-349C0A8806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33375"/>
            <a:ext cx="11522075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46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DD05636-3A21-45BF-BE67-412D2A1A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3373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DD05636-3A21-45BF-BE67-412D2A1A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126B37B-9D9A-4860-B16A-3107F78BB4E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nb-NO" sz="400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765175"/>
            <a:ext cx="11522075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916113"/>
            <a:ext cx="3708399" cy="4033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4963" y="6297825"/>
            <a:ext cx="37084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9263" y="6297825"/>
            <a:ext cx="3673476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8638" y="6297825"/>
            <a:ext cx="37084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C0E7104-9735-4284-AF96-1CC45881F064}"/>
              </a:ext>
            </a:extLst>
          </p:cNvPr>
          <p:cNvGrpSpPr/>
          <p:nvPr userDrawn="1"/>
        </p:nvGrpSpPr>
        <p:grpSpPr>
          <a:xfrm>
            <a:off x="-1040266" y="102542"/>
            <a:ext cx="931728" cy="3072557"/>
            <a:chOff x="-1040266" y="102542"/>
            <a:chExt cx="931728" cy="3072557"/>
          </a:xfrm>
        </p:grpSpPr>
        <p:sp>
          <p:nvSpPr>
            <p:cNvPr id="26" name="Grønn 6">
              <a:extLst>
                <a:ext uri="{FF2B5EF4-FFF2-40B4-BE49-F238E27FC236}">
                  <a16:creationId xmlns:a16="http://schemas.microsoft.com/office/drawing/2014/main" id="{4180CD13-26BF-4956-A291-729168918052}"/>
                </a:ext>
              </a:extLst>
            </p:cNvPr>
            <p:cNvSpPr/>
            <p:nvPr/>
          </p:nvSpPr>
          <p:spPr>
            <a:xfrm>
              <a:off x="-371718" y="2313555"/>
              <a:ext cx="263180" cy="263180"/>
            </a:xfrm>
            <a:prstGeom prst="ellipse">
              <a:avLst/>
            </a:prstGeom>
            <a:solidFill>
              <a:srgbClr val="C4F2D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7" name="Grønn 5">
              <a:extLst>
                <a:ext uri="{FF2B5EF4-FFF2-40B4-BE49-F238E27FC236}">
                  <a16:creationId xmlns:a16="http://schemas.microsoft.com/office/drawing/2014/main" id="{EF65FFA5-304A-4C4A-8D62-587F069625CA}"/>
                </a:ext>
              </a:extLst>
            </p:cNvPr>
            <p:cNvSpPr/>
            <p:nvPr/>
          </p:nvSpPr>
          <p:spPr>
            <a:xfrm>
              <a:off x="-371718" y="1981198"/>
              <a:ext cx="263180" cy="263180"/>
            </a:xfrm>
            <a:prstGeom prst="ellipse">
              <a:avLst/>
            </a:prstGeom>
            <a:solidFill>
              <a:srgbClr val="02A67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8" name="Grønn 4">
              <a:extLst>
                <a:ext uri="{FF2B5EF4-FFF2-40B4-BE49-F238E27FC236}">
                  <a16:creationId xmlns:a16="http://schemas.microsoft.com/office/drawing/2014/main" id="{0CA528FE-FDB9-43EE-B0DD-6172169354CD}"/>
                </a:ext>
              </a:extLst>
            </p:cNvPr>
            <p:cNvSpPr/>
            <p:nvPr/>
          </p:nvSpPr>
          <p:spPr>
            <a:xfrm>
              <a:off x="-371718" y="1648843"/>
              <a:ext cx="263180" cy="263180"/>
            </a:xfrm>
            <a:prstGeom prst="ellipse">
              <a:avLst/>
            </a:prstGeom>
            <a:solidFill>
              <a:srgbClr val="24736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9" name="Grønn 3">
              <a:extLst>
                <a:ext uri="{FF2B5EF4-FFF2-40B4-BE49-F238E27FC236}">
                  <a16:creationId xmlns:a16="http://schemas.microsoft.com/office/drawing/2014/main" id="{1B0C6F27-1C72-4B25-A63C-9A6FEDFFBFC3}"/>
                </a:ext>
              </a:extLst>
            </p:cNvPr>
            <p:cNvSpPr/>
            <p:nvPr/>
          </p:nvSpPr>
          <p:spPr>
            <a:xfrm>
              <a:off x="-371718" y="1316488"/>
              <a:ext cx="263180" cy="263180"/>
            </a:xfrm>
            <a:prstGeom prst="ellipse">
              <a:avLst/>
            </a:prstGeom>
            <a:solidFill>
              <a:srgbClr val="00292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30" name="Grønn 2">
              <a:extLst>
                <a:ext uri="{FF2B5EF4-FFF2-40B4-BE49-F238E27FC236}">
                  <a16:creationId xmlns:a16="http://schemas.microsoft.com/office/drawing/2014/main" id="{78537D1D-F22C-440B-8742-C2A459B91F4E}"/>
                </a:ext>
              </a:extLst>
            </p:cNvPr>
            <p:cNvSpPr/>
            <p:nvPr/>
          </p:nvSpPr>
          <p:spPr>
            <a:xfrm>
              <a:off x="-371718" y="984133"/>
              <a:ext cx="263180" cy="263180"/>
            </a:xfrm>
            <a:prstGeom prst="ellipse">
              <a:avLst/>
            </a:prstGeom>
            <a:solidFill>
              <a:srgbClr val="7BEFB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31" name="Grønn 1">
              <a:extLst>
                <a:ext uri="{FF2B5EF4-FFF2-40B4-BE49-F238E27FC236}">
                  <a16:creationId xmlns:a16="http://schemas.microsoft.com/office/drawing/2014/main" id="{B8DDF058-1591-4279-AA85-BD3CF6238515}"/>
                </a:ext>
              </a:extLst>
            </p:cNvPr>
            <p:cNvSpPr/>
            <p:nvPr/>
          </p:nvSpPr>
          <p:spPr>
            <a:xfrm>
              <a:off x="-371718" y="651778"/>
              <a:ext cx="263180" cy="263180"/>
            </a:xfrm>
            <a:prstGeom prst="ellipse">
              <a:avLst/>
            </a:prstGeom>
            <a:solidFill>
              <a:srgbClr val="01594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1" name="Grønn 1">
              <a:extLst>
                <a:ext uri="{FF2B5EF4-FFF2-40B4-BE49-F238E27FC236}">
                  <a16:creationId xmlns:a16="http://schemas.microsoft.com/office/drawing/2014/main" id="{942828EF-104D-47C4-B8BD-BD8E8185A0AC}"/>
                </a:ext>
              </a:extLst>
            </p:cNvPr>
            <p:cNvSpPr/>
            <p:nvPr/>
          </p:nvSpPr>
          <p:spPr>
            <a:xfrm>
              <a:off x="-702821" y="706858"/>
              <a:ext cx="138499" cy="138499"/>
            </a:xfrm>
            <a:prstGeom prst="ellipse">
              <a:avLst/>
            </a:prstGeom>
            <a:solidFill>
              <a:srgbClr val="F1F2F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2" name="Grønn 1">
              <a:extLst>
                <a:ext uri="{FF2B5EF4-FFF2-40B4-BE49-F238E27FC236}">
                  <a16:creationId xmlns:a16="http://schemas.microsoft.com/office/drawing/2014/main" id="{1DA2D484-23B5-407C-915B-E173E3CEEEA9}"/>
                </a:ext>
              </a:extLst>
            </p:cNvPr>
            <p:cNvSpPr/>
            <p:nvPr/>
          </p:nvSpPr>
          <p:spPr>
            <a:xfrm>
              <a:off x="-702821" y="1039213"/>
              <a:ext cx="138499" cy="138499"/>
            </a:xfrm>
            <a:prstGeom prst="ellipse">
              <a:avLst/>
            </a:prstGeom>
            <a:solidFill>
              <a:srgbClr val="DCDDDE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3" name="Grønn 1">
              <a:extLst>
                <a:ext uri="{FF2B5EF4-FFF2-40B4-BE49-F238E27FC236}">
                  <a16:creationId xmlns:a16="http://schemas.microsoft.com/office/drawing/2014/main" id="{3453C48E-8AB4-41D2-89DA-744DB69BD413}"/>
                </a:ext>
              </a:extLst>
            </p:cNvPr>
            <p:cNvSpPr/>
            <p:nvPr/>
          </p:nvSpPr>
          <p:spPr>
            <a:xfrm>
              <a:off x="-702821" y="1371568"/>
              <a:ext cx="138499" cy="138499"/>
            </a:xfrm>
            <a:prstGeom prst="ellipse">
              <a:avLst/>
            </a:prstGeom>
            <a:solidFill>
              <a:srgbClr val="BCBE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4" name="Grønn 1">
              <a:extLst>
                <a:ext uri="{FF2B5EF4-FFF2-40B4-BE49-F238E27FC236}">
                  <a16:creationId xmlns:a16="http://schemas.microsoft.com/office/drawing/2014/main" id="{A6B4B7BD-A48C-42B6-96F5-536C0855224F}"/>
                </a:ext>
              </a:extLst>
            </p:cNvPr>
            <p:cNvSpPr/>
            <p:nvPr/>
          </p:nvSpPr>
          <p:spPr>
            <a:xfrm>
              <a:off x="-702821" y="1703923"/>
              <a:ext cx="138499" cy="138499"/>
            </a:xfrm>
            <a:prstGeom prst="ellipse">
              <a:avLst/>
            </a:prstGeom>
            <a:solidFill>
              <a:srgbClr val="80828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5" name="Grønn 1">
              <a:extLst>
                <a:ext uri="{FF2B5EF4-FFF2-40B4-BE49-F238E27FC236}">
                  <a16:creationId xmlns:a16="http://schemas.microsoft.com/office/drawing/2014/main" id="{5E5A48BE-29C4-4D1B-9D7A-D869135A7FE0}"/>
                </a:ext>
              </a:extLst>
            </p:cNvPr>
            <p:cNvSpPr/>
            <p:nvPr/>
          </p:nvSpPr>
          <p:spPr>
            <a:xfrm>
              <a:off x="-702821" y="2036278"/>
              <a:ext cx="138499" cy="138499"/>
            </a:xfrm>
            <a:prstGeom prst="ellipse">
              <a:avLst/>
            </a:prstGeom>
            <a:solidFill>
              <a:srgbClr val="0000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3" name="Grønn 1">
              <a:extLst>
                <a:ext uri="{FF2B5EF4-FFF2-40B4-BE49-F238E27FC236}">
                  <a16:creationId xmlns:a16="http://schemas.microsoft.com/office/drawing/2014/main" id="{8E04445C-0176-4540-95A3-3999876B086C}"/>
                </a:ext>
              </a:extLst>
            </p:cNvPr>
            <p:cNvSpPr/>
            <p:nvPr/>
          </p:nvSpPr>
          <p:spPr>
            <a:xfrm>
              <a:off x="-1035008" y="710113"/>
              <a:ext cx="138499" cy="138499"/>
            </a:xfrm>
            <a:prstGeom prst="ellipse">
              <a:avLst/>
            </a:prstGeom>
            <a:solidFill>
              <a:srgbClr val="00467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4" name="Grønn 1">
              <a:extLst>
                <a:ext uri="{FF2B5EF4-FFF2-40B4-BE49-F238E27FC236}">
                  <a16:creationId xmlns:a16="http://schemas.microsoft.com/office/drawing/2014/main" id="{6240DB03-AF8A-4970-94CF-27F9CD355E53}"/>
                </a:ext>
              </a:extLst>
            </p:cNvPr>
            <p:cNvSpPr/>
            <p:nvPr/>
          </p:nvSpPr>
          <p:spPr>
            <a:xfrm>
              <a:off x="-1035008" y="1042468"/>
              <a:ext cx="138499" cy="138499"/>
            </a:xfrm>
            <a:prstGeom prst="ellipse">
              <a:avLst/>
            </a:prstGeom>
            <a:solidFill>
              <a:srgbClr val="90DDF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5" name="Grønn 1">
              <a:extLst>
                <a:ext uri="{FF2B5EF4-FFF2-40B4-BE49-F238E27FC236}">
                  <a16:creationId xmlns:a16="http://schemas.microsoft.com/office/drawing/2014/main" id="{5E08615D-9A27-483C-86FC-A2236A90023A}"/>
                </a:ext>
              </a:extLst>
            </p:cNvPr>
            <p:cNvSpPr/>
            <p:nvPr/>
          </p:nvSpPr>
          <p:spPr>
            <a:xfrm>
              <a:off x="-1033924" y="1374823"/>
              <a:ext cx="138499" cy="138499"/>
            </a:xfrm>
            <a:prstGeom prst="ellipse">
              <a:avLst/>
            </a:prstGeom>
            <a:solidFill>
              <a:srgbClr val="37277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6" name="Grønn 1">
              <a:extLst>
                <a:ext uri="{FF2B5EF4-FFF2-40B4-BE49-F238E27FC236}">
                  <a16:creationId xmlns:a16="http://schemas.microsoft.com/office/drawing/2014/main" id="{D227DBA9-F865-4D67-990A-5665725D0611}"/>
                </a:ext>
              </a:extLst>
            </p:cNvPr>
            <p:cNvSpPr/>
            <p:nvPr/>
          </p:nvSpPr>
          <p:spPr>
            <a:xfrm>
              <a:off x="-1035008" y="1707178"/>
              <a:ext cx="138499" cy="138499"/>
            </a:xfrm>
            <a:prstGeom prst="ellipse">
              <a:avLst/>
            </a:prstGeom>
            <a:solidFill>
              <a:srgbClr val="C0A9F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7" name="Grønn 1">
              <a:extLst>
                <a:ext uri="{FF2B5EF4-FFF2-40B4-BE49-F238E27FC236}">
                  <a16:creationId xmlns:a16="http://schemas.microsoft.com/office/drawing/2014/main" id="{F6AC13DE-B379-412F-9BCA-4574CE794A14}"/>
                </a:ext>
              </a:extLst>
            </p:cNvPr>
            <p:cNvSpPr/>
            <p:nvPr/>
          </p:nvSpPr>
          <p:spPr>
            <a:xfrm>
              <a:off x="-1035008" y="2039533"/>
              <a:ext cx="138499" cy="138499"/>
            </a:xfrm>
            <a:prstGeom prst="ellipse">
              <a:avLst/>
            </a:prstGeom>
            <a:solidFill>
              <a:srgbClr val="6B1E27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8" name="Grønn 1">
              <a:extLst>
                <a:ext uri="{FF2B5EF4-FFF2-40B4-BE49-F238E27FC236}">
                  <a16:creationId xmlns:a16="http://schemas.microsoft.com/office/drawing/2014/main" id="{6DF52E3E-57FE-4DF7-B103-793D33049FAD}"/>
                </a:ext>
              </a:extLst>
            </p:cNvPr>
            <p:cNvSpPr/>
            <p:nvPr/>
          </p:nvSpPr>
          <p:spPr>
            <a:xfrm>
              <a:off x="-1040266" y="2371888"/>
              <a:ext cx="138499" cy="138499"/>
            </a:xfrm>
            <a:prstGeom prst="ellipse">
              <a:avLst/>
            </a:prstGeom>
            <a:solidFill>
              <a:srgbClr val="D482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9" name="Grønn 1">
              <a:extLst>
                <a:ext uri="{FF2B5EF4-FFF2-40B4-BE49-F238E27FC236}">
                  <a16:creationId xmlns:a16="http://schemas.microsoft.com/office/drawing/2014/main" id="{CB333F47-E506-4B11-B51D-FBA7B203D653}"/>
                </a:ext>
              </a:extLst>
            </p:cNvPr>
            <p:cNvSpPr/>
            <p:nvPr/>
          </p:nvSpPr>
          <p:spPr>
            <a:xfrm>
              <a:off x="-1040266" y="2704243"/>
              <a:ext cx="138499" cy="138499"/>
            </a:xfrm>
            <a:prstGeom prst="ellipse">
              <a:avLst/>
            </a:prstGeom>
            <a:solidFill>
              <a:srgbClr val="E858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0" name="Grønn 1">
              <a:extLst>
                <a:ext uri="{FF2B5EF4-FFF2-40B4-BE49-F238E27FC236}">
                  <a16:creationId xmlns:a16="http://schemas.microsoft.com/office/drawing/2014/main" id="{0DC3C48F-B2E2-4084-B351-C766A2402B5A}"/>
                </a:ext>
              </a:extLst>
            </p:cNvPr>
            <p:cNvSpPr/>
            <p:nvPr/>
          </p:nvSpPr>
          <p:spPr>
            <a:xfrm>
              <a:off x="-1040266" y="3036600"/>
              <a:ext cx="138499" cy="138499"/>
            </a:xfrm>
            <a:prstGeom prst="ellipse">
              <a:avLst/>
            </a:prstGeom>
            <a:solidFill>
              <a:srgbClr val="FFC46B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932A4D7-2F12-453F-8F1E-CE6F9EDC2279}"/>
                </a:ext>
              </a:extLst>
            </p:cNvPr>
            <p:cNvSpPr txBox="1"/>
            <p:nvPr/>
          </p:nvSpPr>
          <p:spPr>
            <a:xfrm rot="16200000">
              <a:off x="-445313" y="289773"/>
              <a:ext cx="410369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>
                  <a:solidFill>
                    <a:schemeClr val="bg1"/>
                  </a:solidFill>
                  <a:latin typeface="Arial" panose="020B0604020202020204" pitchFamily="34" charset="0"/>
                </a:rPr>
                <a:t>Identite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04F6DB5-7709-4F50-9D46-BE0BF3777CF8}"/>
                </a:ext>
              </a:extLst>
            </p:cNvPr>
            <p:cNvSpPr txBox="1"/>
            <p:nvPr/>
          </p:nvSpPr>
          <p:spPr>
            <a:xfrm rot="16200000">
              <a:off x="-864404" y="264125"/>
              <a:ext cx="46166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>
                  <a:solidFill>
                    <a:schemeClr val="bg1"/>
                  </a:solidFill>
                  <a:latin typeface="Arial" panose="020B0604020202020204" pitchFamily="34" charset="0"/>
                </a:rPr>
                <a:t>Gråskal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58D3A96-B160-43B8-93A5-CB0536C17791}"/>
                </a:ext>
              </a:extLst>
            </p:cNvPr>
            <p:cNvSpPr txBox="1"/>
            <p:nvPr/>
          </p:nvSpPr>
          <p:spPr>
            <a:xfrm rot="16200000">
              <a:off x="-1119647" y="341069"/>
              <a:ext cx="307777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>
                  <a:solidFill>
                    <a:schemeClr val="bg1"/>
                  </a:solidFill>
                  <a:latin typeface="Arial" panose="020B0604020202020204" pitchFamily="34" charset="0"/>
                </a:rPr>
                <a:t>Støt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35259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6" r:id="rId3"/>
    <p:sldLayoutId id="2147483757" r:id="rId4"/>
    <p:sldLayoutId id="214748375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0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423" indent="-179423" algn="l" defTabSz="914446" rtl="0" eaLnBrk="1" latinLnBrk="0" hangingPunct="1">
        <a:lnSpc>
          <a:spcPct val="120000"/>
        </a:lnSpc>
        <a:spcBef>
          <a:spcPts val="9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A4A3A4"/>
          </p15:clr>
        </p15:guide>
        <p15:guide id="3" pos="7469">
          <p15:clr>
            <a:srgbClr val="A4A3A4"/>
          </p15:clr>
        </p15:guide>
        <p15:guide id="4" orient="horz" pos="4110">
          <p15:clr>
            <a:srgbClr val="A4A3A4"/>
          </p15:clr>
        </p15:guide>
        <p15:guide id="5" pos="2547">
          <p15:clr>
            <a:srgbClr val="A4A3A4"/>
          </p15:clr>
        </p15:guide>
        <p15:guide id="6" pos="2683">
          <p15:clr>
            <a:srgbClr val="A4A3A4"/>
          </p15:clr>
        </p15:guide>
        <p15:guide id="7" pos="4997">
          <p15:clr>
            <a:srgbClr val="A4A3A4"/>
          </p15:clr>
        </p15:guide>
        <p15:guide id="8" pos="5133">
          <p15:clr>
            <a:srgbClr val="A4A3A4"/>
          </p15:clr>
        </p15:guide>
        <p15:guide id="9" orient="horz" pos="482">
          <p15:clr>
            <a:srgbClr val="A4A3A4"/>
          </p15:clr>
        </p15:guide>
        <p15:guide id="10" orient="horz" pos="845">
          <p15:clr>
            <a:srgbClr val="A4A3A4"/>
          </p15:clr>
        </p15:guide>
        <p15:guide id="11" pos="211">
          <p15:clr>
            <a:srgbClr val="A4A3A4"/>
          </p15:clr>
        </p15:guide>
        <p15:guide id="12" orient="horz" pos="1207">
          <p15:clr>
            <a:srgbClr val="A4A3A4"/>
          </p15:clr>
        </p15:guide>
        <p15:guide id="13" orient="horz" pos="3748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9C5DEE-7379-46EA-B1E0-5915C31393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0996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9C5DEE-7379-46EA-B1E0-5915C3139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3CC158DE-D677-43A4-853E-C5D44A61AF1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00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765175"/>
            <a:ext cx="11522075" cy="576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916113"/>
            <a:ext cx="3708399" cy="4033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4962" y="6297825"/>
            <a:ext cx="3708400" cy="2268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9262" y="6297825"/>
            <a:ext cx="3673476" cy="2268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8637" y="6297825"/>
            <a:ext cx="3708400" cy="2268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rønn 6">
            <a:extLst>
              <a:ext uri="{FF2B5EF4-FFF2-40B4-BE49-F238E27FC236}">
                <a16:creationId xmlns:a16="http://schemas.microsoft.com/office/drawing/2014/main" id="{DEFC32D2-D900-4F59-8958-EB688A575697}"/>
              </a:ext>
            </a:extLst>
          </p:cNvPr>
          <p:cNvSpPr/>
          <p:nvPr/>
        </p:nvSpPr>
        <p:spPr>
          <a:xfrm>
            <a:off x="-371718" y="2313555"/>
            <a:ext cx="263180" cy="263180"/>
          </a:xfrm>
          <a:prstGeom prst="ellipse">
            <a:avLst/>
          </a:prstGeom>
          <a:solidFill>
            <a:srgbClr val="C4F2D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1" name="Grønn 5">
            <a:extLst>
              <a:ext uri="{FF2B5EF4-FFF2-40B4-BE49-F238E27FC236}">
                <a16:creationId xmlns:a16="http://schemas.microsoft.com/office/drawing/2014/main" id="{C25E21F5-8F77-4B07-B9CE-0B656408F31B}"/>
              </a:ext>
            </a:extLst>
          </p:cNvPr>
          <p:cNvSpPr/>
          <p:nvPr/>
        </p:nvSpPr>
        <p:spPr>
          <a:xfrm>
            <a:off x="-371718" y="1981198"/>
            <a:ext cx="263180" cy="263180"/>
          </a:xfrm>
          <a:prstGeom prst="ellipse">
            <a:avLst/>
          </a:prstGeom>
          <a:solidFill>
            <a:srgbClr val="02A67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2" name="Grønn 4">
            <a:extLst>
              <a:ext uri="{FF2B5EF4-FFF2-40B4-BE49-F238E27FC236}">
                <a16:creationId xmlns:a16="http://schemas.microsoft.com/office/drawing/2014/main" id="{F89C2CC7-22DD-4321-B73F-7906390C2D0E}"/>
              </a:ext>
            </a:extLst>
          </p:cNvPr>
          <p:cNvSpPr/>
          <p:nvPr/>
        </p:nvSpPr>
        <p:spPr>
          <a:xfrm>
            <a:off x="-371718" y="1648843"/>
            <a:ext cx="263180" cy="263180"/>
          </a:xfrm>
          <a:prstGeom prst="ellipse">
            <a:avLst/>
          </a:prstGeom>
          <a:solidFill>
            <a:srgbClr val="24736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3" name="Grønn 3">
            <a:extLst>
              <a:ext uri="{FF2B5EF4-FFF2-40B4-BE49-F238E27FC236}">
                <a16:creationId xmlns:a16="http://schemas.microsoft.com/office/drawing/2014/main" id="{C53FD56A-8668-4E99-BDB1-9F61EC2AAB24}"/>
              </a:ext>
            </a:extLst>
          </p:cNvPr>
          <p:cNvSpPr/>
          <p:nvPr/>
        </p:nvSpPr>
        <p:spPr>
          <a:xfrm>
            <a:off x="-371718" y="1316488"/>
            <a:ext cx="263180" cy="263180"/>
          </a:xfrm>
          <a:prstGeom prst="ellipse">
            <a:avLst/>
          </a:prstGeom>
          <a:solidFill>
            <a:srgbClr val="00292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4" name="Grønn 2">
            <a:extLst>
              <a:ext uri="{FF2B5EF4-FFF2-40B4-BE49-F238E27FC236}">
                <a16:creationId xmlns:a16="http://schemas.microsoft.com/office/drawing/2014/main" id="{A8802987-52E1-4146-A02F-4DDAECF25160}"/>
              </a:ext>
            </a:extLst>
          </p:cNvPr>
          <p:cNvSpPr/>
          <p:nvPr/>
        </p:nvSpPr>
        <p:spPr>
          <a:xfrm>
            <a:off x="-371718" y="984133"/>
            <a:ext cx="263180" cy="263180"/>
          </a:xfrm>
          <a:prstGeom prst="ellipse">
            <a:avLst/>
          </a:prstGeom>
          <a:solidFill>
            <a:srgbClr val="7BEFB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5" name="Grønn 1">
            <a:extLst>
              <a:ext uri="{FF2B5EF4-FFF2-40B4-BE49-F238E27FC236}">
                <a16:creationId xmlns:a16="http://schemas.microsoft.com/office/drawing/2014/main" id="{20DB799D-A66E-46CA-8E97-8FE845A71F58}"/>
              </a:ext>
            </a:extLst>
          </p:cNvPr>
          <p:cNvSpPr/>
          <p:nvPr/>
        </p:nvSpPr>
        <p:spPr>
          <a:xfrm>
            <a:off x="-371718" y="651778"/>
            <a:ext cx="263180" cy="263180"/>
          </a:xfrm>
          <a:prstGeom prst="ellipse">
            <a:avLst/>
          </a:prstGeom>
          <a:solidFill>
            <a:srgbClr val="01594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6" name="Grønn 1">
            <a:extLst>
              <a:ext uri="{FF2B5EF4-FFF2-40B4-BE49-F238E27FC236}">
                <a16:creationId xmlns:a16="http://schemas.microsoft.com/office/drawing/2014/main" id="{54DB7CF0-E5C2-4762-ACC7-6E5003AF5D16}"/>
              </a:ext>
            </a:extLst>
          </p:cNvPr>
          <p:cNvSpPr/>
          <p:nvPr/>
        </p:nvSpPr>
        <p:spPr>
          <a:xfrm>
            <a:off x="-702821" y="706858"/>
            <a:ext cx="138499" cy="138499"/>
          </a:xfrm>
          <a:prstGeom prst="ellipse">
            <a:avLst/>
          </a:prstGeom>
          <a:solidFill>
            <a:srgbClr val="F1F2F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7" name="Grønn 1">
            <a:extLst>
              <a:ext uri="{FF2B5EF4-FFF2-40B4-BE49-F238E27FC236}">
                <a16:creationId xmlns:a16="http://schemas.microsoft.com/office/drawing/2014/main" id="{B686E1D7-9A95-46B3-833E-FE5C24838884}"/>
              </a:ext>
            </a:extLst>
          </p:cNvPr>
          <p:cNvSpPr/>
          <p:nvPr/>
        </p:nvSpPr>
        <p:spPr>
          <a:xfrm>
            <a:off x="-702821" y="1039213"/>
            <a:ext cx="138499" cy="138499"/>
          </a:xfrm>
          <a:prstGeom prst="ellipse">
            <a:avLst/>
          </a:prstGeom>
          <a:solidFill>
            <a:srgbClr val="DCDDD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8" name="Grønn 1">
            <a:extLst>
              <a:ext uri="{FF2B5EF4-FFF2-40B4-BE49-F238E27FC236}">
                <a16:creationId xmlns:a16="http://schemas.microsoft.com/office/drawing/2014/main" id="{08ABF0F9-5557-40E1-9335-EBDD1E427DE6}"/>
              </a:ext>
            </a:extLst>
          </p:cNvPr>
          <p:cNvSpPr/>
          <p:nvPr/>
        </p:nvSpPr>
        <p:spPr>
          <a:xfrm>
            <a:off x="-702821" y="1371568"/>
            <a:ext cx="138499" cy="138499"/>
          </a:xfrm>
          <a:prstGeom prst="ellipse">
            <a:avLst/>
          </a:prstGeom>
          <a:solidFill>
            <a:srgbClr val="BCBEC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9" name="Grønn 1">
            <a:extLst>
              <a:ext uri="{FF2B5EF4-FFF2-40B4-BE49-F238E27FC236}">
                <a16:creationId xmlns:a16="http://schemas.microsoft.com/office/drawing/2014/main" id="{81F65349-8800-4CAE-BC3D-4540356541DD}"/>
              </a:ext>
            </a:extLst>
          </p:cNvPr>
          <p:cNvSpPr/>
          <p:nvPr/>
        </p:nvSpPr>
        <p:spPr>
          <a:xfrm>
            <a:off x="-702821" y="1703923"/>
            <a:ext cx="138499" cy="138499"/>
          </a:xfrm>
          <a:prstGeom prst="ellipse">
            <a:avLst/>
          </a:prstGeom>
          <a:solidFill>
            <a:srgbClr val="80828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0" name="Grønn 1">
            <a:extLst>
              <a:ext uri="{FF2B5EF4-FFF2-40B4-BE49-F238E27FC236}">
                <a16:creationId xmlns:a16="http://schemas.microsoft.com/office/drawing/2014/main" id="{EB49F8A2-560F-48F7-BFD2-4AA08376FCC5}"/>
              </a:ext>
            </a:extLst>
          </p:cNvPr>
          <p:cNvSpPr/>
          <p:nvPr/>
        </p:nvSpPr>
        <p:spPr>
          <a:xfrm>
            <a:off x="-702821" y="2036278"/>
            <a:ext cx="138499" cy="138499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1" name="Grønn 1">
            <a:extLst>
              <a:ext uri="{FF2B5EF4-FFF2-40B4-BE49-F238E27FC236}">
                <a16:creationId xmlns:a16="http://schemas.microsoft.com/office/drawing/2014/main" id="{239581AC-B2F6-4D2B-81B2-1E0B2AC47DAA}"/>
              </a:ext>
            </a:extLst>
          </p:cNvPr>
          <p:cNvSpPr/>
          <p:nvPr/>
        </p:nvSpPr>
        <p:spPr>
          <a:xfrm>
            <a:off x="-1035008" y="710113"/>
            <a:ext cx="138499" cy="138499"/>
          </a:xfrm>
          <a:prstGeom prst="ellipse">
            <a:avLst/>
          </a:prstGeom>
          <a:solidFill>
            <a:srgbClr val="00467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2" name="Grønn 1">
            <a:extLst>
              <a:ext uri="{FF2B5EF4-FFF2-40B4-BE49-F238E27FC236}">
                <a16:creationId xmlns:a16="http://schemas.microsoft.com/office/drawing/2014/main" id="{C362A776-CE21-4BA4-A381-9EC5627EC431}"/>
              </a:ext>
            </a:extLst>
          </p:cNvPr>
          <p:cNvSpPr/>
          <p:nvPr/>
        </p:nvSpPr>
        <p:spPr>
          <a:xfrm>
            <a:off x="-1035008" y="1042468"/>
            <a:ext cx="138499" cy="138499"/>
          </a:xfrm>
          <a:prstGeom prst="ellipse">
            <a:avLst/>
          </a:prstGeom>
          <a:solidFill>
            <a:srgbClr val="90DDF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3" name="Grønn 1">
            <a:extLst>
              <a:ext uri="{FF2B5EF4-FFF2-40B4-BE49-F238E27FC236}">
                <a16:creationId xmlns:a16="http://schemas.microsoft.com/office/drawing/2014/main" id="{C979672C-C192-47AD-9285-0C7061D2E082}"/>
              </a:ext>
            </a:extLst>
          </p:cNvPr>
          <p:cNvSpPr/>
          <p:nvPr/>
        </p:nvSpPr>
        <p:spPr>
          <a:xfrm>
            <a:off x="-1033924" y="1374823"/>
            <a:ext cx="138499" cy="138499"/>
          </a:xfrm>
          <a:prstGeom prst="ellipse">
            <a:avLst/>
          </a:prstGeom>
          <a:solidFill>
            <a:srgbClr val="37277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4" name="Grønn 1">
            <a:extLst>
              <a:ext uri="{FF2B5EF4-FFF2-40B4-BE49-F238E27FC236}">
                <a16:creationId xmlns:a16="http://schemas.microsoft.com/office/drawing/2014/main" id="{0FAD4F61-A6A4-4523-B2CB-9D299B6909DF}"/>
              </a:ext>
            </a:extLst>
          </p:cNvPr>
          <p:cNvSpPr/>
          <p:nvPr/>
        </p:nvSpPr>
        <p:spPr>
          <a:xfrm>
            <a:off x="-1035008" y="1707178"/>
            <a:ext cx="138499" cy="138499"/>
          </a:xfrm>
          <a:prstGeom prst="ellipse">
            <a:avLst/>
          </a:prstGeom>
          <a:solidFill>
            <a:srgbClr val="C0A9F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5" name="Grønn 1">
            <a:extLst>
              <a:ext uri="{FF2B5EF4-FFF2-40B4-BE49-F238E27FC236}">
                <a16:creationId xmlns:a16="http://schemas.microsoft.com/office/drawing/2014/main" id="{FD36EBBA-CE07-4BCA-A08D-53CD7CE7D376}"/>
              </a:ext>
            </a:extLst>
          </p:cNvPr>
          <p:cNvSpPr/>
          <p:nvPr/>
        </p:nvSpPr>
        <p:spPr>
          <a:xfrm>
            <a:off x="-1035008" y="2039533"/>
            <a:ext cx="138499" cy="138499"/>
          </a:xfrm>
          <a:prstGeom prst="ellipse">
            <a:avLst/>
          </a:prstGeom>
          <a:solidFill>
            <a:srgbClr val="6B1E27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6" name="Grønn 1">
            <a:extLst>
              <a:ext uri="{FF2B5EF4-FFF2-40B4-BE49-F238E27FC236}">
                <a16:creationId xmlns:a16="http://schemas.microsoft.com/office/drawing/2014/main" id="{EB901D64-1927-4160-A0A8-59B608E86501}"/>
              </a:ext>
            </a:extLst>
          </p:cNvPr>
          <p:cNvSpPr/>
          <p:nvPr/>
        </p:nvSpPr>
        <p:spPr>
          <a:xfrm>
            <a:off x="-1040266" y="2371888"/>
            <a:ext cx="138499" cy="138499"/>
          </a:xfrm>
          <a:prstGeom prst="ellipse">
            <a:avLst/>
          </a:prstGeom>
          <a:solidFill>
            <a:srgbClr val="D4828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7" name="Grønn 1">
            <a:extLst>
              <a:ext uri="{FF2B5EF4-FFF2-40B4-BE49-F238E27FC236}">
                <a16:creationId xmlns:a16="http://schemas.microsoft.com/office/drawing/2014/main" id="{0B017F2A-5D1A-46FE-800A-B72694B0689C}"/>
              </a:ext>
            </a:extLst>
          </p:cNvPr>
          <p:cNvSpPr/>
          <p:nvPr/>
        </p:nvSpPr>
        <p:spPr>
          <a:xfrm>
            <a:off x="-1040266" y="2704243"/>
            <a:ext cx="138499" cy="138499"/>
          </a:xfrm>
          <a:prstGeom prst="ellipse">
            <a:avLst/>
          </a:prstGeom>
          <a:solidFill>
            <a:srgbClr val="E858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8" name="Grønn 1">
            <a:extLst>
              <a:ext uri="{FF2B5EF4-FFF2-40B4-BE49-F238E27FC236}">
                <a16:creationId xmlns:a16="http://schemas.microsoft.com/office/drawing/2014/main" id="{F6DF0041-4055-4496-B757-733E74CF3BE1}"/>
              </a:ext>
            </a:extLst>
          </p:cNvPr>
          <p:cNvSpPr/>
          <p:nvPr/>
        </p:nvSpPr>
        <p:spPr>
          <a:xfrm>
            <a:off x="-1040266" y="3036600"/>
            <a:ext cx="138499" cy="138499"/>
          </a:xfrm>
          <a:prstGeom prst="ellipse">
            <a:avLst/>
          </a:prstGeom>
          <a:solidFill>
            <a:srgbClr val="FFC46B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C025540-C002-4446-831C-D627E267429C}"/>
              </a:ext>
            </a:extLst>
          </p:cNvPr>
          <p:cNvSpPr txBox="1"/>
          <p:nvPr/>
        </p:nvSpPr>
        <p:spPr>
          <a:xfrm rot="16200000">
            <a:off x="-445313" y="289773"/>
            <a:ext cx="410369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Identite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60AC7B-B9C1-439F-A9DF-11EE9D406F42}"/>
              </a:ext>
            </a:extLst>
          </p:cNvPr>
          <p:cNvSpPr txBox="1"/>
          <p:nvPr/>
        </p:nvSpPr>
        <p:spPr>
          <a:xfrm rot="16200000">
            <a:off x="-864404" y="264125"/>
            <a:ext cx="4616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Gråskal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3C8BEA-A766-4FD8-8465-5EEB1440876F}"/>
              </a:ext>
            </a:extLst>
          </p:cNvPr>
          <p:cNvSpPr txBox="1"/>
          <p:nvPr/>
        </p:nvSpPr>
        <p:spPr>
          <a:xfrm rot="16200000">
            <a:off x="-1119647" y="341069"/>
            <a:ext cx="307777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Støtte</a:t>
            </a:r>
          </a:p>
        </p:txBody>
      </p:sp>
    </p:spTree>
    <p:extLst>
      <p:ext uri="{BB962C8B-B14F-4D97-AF65-F5344CB8AC3E}">
        <p14:creationId xmlns:p14="http://schemas.microsoft.com/office/powerpoint/2010/main" val="45943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41" r:id="rId2"/>
    <p:sldLayoutId id="2147483731" r:id="rId3"/>
    <p:sldLayoutId id="2147483747" r:id="rId4"/>
    <p:sldLayoutId id="2147483716" r:id="rId5"/>
    <p:sldLayoutId id="2147483718" r:id="rId6"/>
    <p:sldLayoutId id="2147483721" r:id="rId7"/>
    <p:sldLayoutId id="2147483722" r:id="rId8"/>
    <p:sldLayoutId id="2147483723" r:id="rId9"/>
    <p:sldLayoutId id="2147483724" r:id="rId10"/>
    <p:sldLayoutId id="2147483742" r:id="rId11"/>
    <p:sldLayoutId id="2147483729" r:id="rId12"/>
    <p:sldLayoutId id="2147483749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00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46" rtl="0" eaLnBrk="1" latinLnBrk="0" hangingPunct="1">
        <a:lnSpc>
          <a:spcPct val="120000"/>
        </a:lnSpc>
        <a:spcBef>
          <a:spcPts val="9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pos="211" userDrawn="1">
          <p15:clr>
            <a:srgbClr val="F26B43"/>
          </p15:clr>
        </p15:guide>
        <p15:guide id="3" orient="horz" pos="4110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482" userDrawn="1">
          <p15:clr>
            <a:srgbClr val="F26B43"/>
          </p15:clr>
        </p15:guide>
        <p15:guide id="6" pos="2683" userDrawn="1">
          <p15:clr>
            <a:srgbClr val="F26B43"/>
          </p15:clr>
        </p15:guide>
        <p15:guide id="7" pos="2547" userDrawn="1">
          <p15:clr>
            <a:srgbClr val="F26B43"/>
          </p15:clr>
        </p15:guide>
        <p15:guide id="8" pos="4997" userDrawn="1">
          <p15:clr>
            <a:srgbClr val="F26B43"/>
          </p15:clr>
        </p15:guide>
        <p15:guide id="9" pos="5133" userDrawn="1">
          <p15:clr>
            <a:srgbClr val="F26B43"/>
          </p15:clr>
        </p15:guide>
        <p15:guide id="10" orient="horz" pos="845" userDrawn="1">
          <p15:clr>
            <a:srgbClr val="F26B43"/>
          </p15:clr>
        </p15:guide>
        <p15:guide id="11" orient="horz" pos="1207" userDrawn="1">
          <p15:clr>
            <a:srgbClr val="F26B43"/>
          </p15:clr>
        </p15:guide>
        <p15:guide id="12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hl7norway.github.io/NILAR/DiagnosticReportIG/CurrentBuild/index.html" TargetMode="Externa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32BFC86-FB65-40DE-B69A-E0554F2560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1263317"/>
            <a:ext cx="10541584" cy="1993591"/>
          </a:xfrm>
        </p:spPr>
        <p:txBody>
          <a:bodyPr/>
          <a:lstStyle/>
          <a:p>
            <a:r>
              <a:rPr lang="nb-NO" sz="6000" dirty="0">
                <a:latin typeface="-apple-system"/>
              </a:rPr>
              <a:t>Pasientens prøvesvar – PPS</a:t>
            </a:r>
            <a:br>
              <a:rPr lang="nb-NO" sz="6000" dirty="0">
                <a:latin typeface="-apple-system"/>
              </a:rPr>
            </a:br>
            <a:br>
              <a:rPr lang="nb-NO" sz="6000" dirty="0">
                <a:latin typeface="-apple-system"/>
              </a:rPr>
            </a:br>
            <a:r>
              <a:rPr lang="nb-NO" sz="2000" dirty="0">
                <a:latin typeface="-apple-system"/>
              </a:rPr>
              <a:t>(Prosjektnavn NILAR)</a:t>
            </a:r>
            <a:endParaRPr lang="nb-NO" sz="6000" dirty="0">
              <a:latin typeface="-apple-system"/>
            </a:endParaRPr>
          </a:p>
        </p:txBody>
      </p:sp>
      <p:sp>
        <p:nvSpPr>
          <p:cNvPr id="2" name="Undertittel 1">
            <a:extLst>
              <a:ext uri="{FF2B5EF4-FFF2-40B4-BE49-F238E27FC236}">
                <a16:creationId xmlns:a16="http://schemas.microsoft.com/office/drawing/2014/main" id="{9875A323-F6DC-4830-A22C-8562C0DCDE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952" y="3965267"/>
            <a:ext cx="7597775" cy="226800"/>
          </a:xfrm>
        </p:spPr>
        <p:txBody>
          <a:bodyPr/>
          <a:lstStyle/>
          <a:p>
            <a:r>
              <a:rPr lang="nb-NO" dirty="0"/>
              <a:t>Tjeneste for innsamling og deling av laboratorie- og røntgensvar</a:t>
            </a:r>
          </a:p>
        </p:txBody>
      </p:sp>
    </p:spTree>
    <p:extLst>
      <p:ext uri="{BB962C8B-B14F-4D97-AF65-F5344CB8AC3E}">
        <p14:creationId xmlns:p14="http://schemas.microsoft.com/office/powerpoint/2010/main" val="3440891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9D0CD27-A822-4165-A00D-152EBAB5F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1095956"/>
            <a:ext cx="11522074" cy="5428671"/>
          </a:xfrm>
        </p:spPr>
        <p:txBody>
          <a:bodyPr/>
          <a:lstStyle/>
          <a:p>
            <a:r>
              <a:rPr lang="nb-NO" sz="3200" dirty="0"/>
              <a:t>Bedre ytelse ved mottak av data</a:t>
            </a:r>
          </a:p>
          <a:p>
            <a:r>
              <a:rPr lang="nb-NO" sz="3200" dirty="0"/>
              <a:t>Ingen binding til spesifikk Fhir versjon eller andre </a:t>
            </a:r>
            <a:r>
              <a:rPr lang="nb-NO" sz="3200"/>
              <a:t>eksterne modeller på </a:t>
            </a:r>
            <a:r>
              <a:rPr lang="nb-NO" sz="3200" dirty="0"/>
              <a:t>persisterte data</a:t>
            </a:r>
          </a:p>
          <a:p>
            <a:r>
              <a:rPr lang="nb-NO" sz="3200" dirty="0"/>
              <a:t>Alle data leveres ut med gjeldende </a:t>
            </a:r>
            <a:r>
              <a:rPr lang="nb-NO" sz="3200" dirty="0" err="1"/>
              <a:t>mapping</a:t>
            </a:r>
            <a:r>
              <a:rPr lang="nb-NO" sz="3200" dirty="0"/>
              <a:t> på tidspunkt for uthenting</a:t>
            </a:r>
          </a:p>
          <a:p>
            <a:endParaRPr lang="nb-NO" sz="3200" dirty="0"/>
          </a:p>
          <a:p>
            <a:r>
              <a:rPr lang="nb-NO" sz="3200" dirty="0"/>
              <a:t>Noe tyngre prosessering ved uthenting</a:t>
            </a:r>
          </a:p>
          <a:p>
            <a:r>
              <a:rPr lang="nb-NO" sz="3200" dirty="0"/>
              <a:t>Kan være utfordrende å optimalisere uthenting fra database da noen av kriteriene er godt «innkapslet»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/>
              <a:t>Teknologivalg</a:t>
            </a:r>
          </a:p>
        </p:txBody>
      </p:sp>
    </p:spTree>
    <p:extLst>
      <p:ext uri="{BB962C8B-B14F-4D97-AF65-F5344CB8AC3E}">
        <p14:creationId xmlns:p14="http://schemas.microsoft.com/office/powerpoint/2010/main" val="2321608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DAB85AB-01B1-4880-B3CD-4C68DD2416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4" y="1588168"/>
            <a:ext cx="11522074" cy="4936458"/>
          </a:xfrm>
        </p:spPr>
        <p:txBody>
          <a:bodyPr/>
          <a:lstStyle/>
          <a:p>
            <a:r>
              <a:rPr lang="nb-NO" sz="3200" dirty="0"/>
              <a:t>Ett laboratorium (</a:t>
            </a:r>
            <a:r>
              <a:rPr lang="nb-NO" sz="3200" dirty="0" err="1"/>
              <a:t>Fürst</a:t>
            </a:r>
            <a:r>
              <a:rPr lang="nb-NO" sz="3200" dirty="0"/>
              <a:t>), ti leger (to legesentre)</a:t>
            </a:r>
          </a:p>
          <a:p>
            <a:pPr lvl="1"/>
            <a:r>
              <a:rPr lang="nb-NO" sz="3200" dirty="0"/>
              <a:t>Kun test, ikke for bruk til behandling</a:t>
            </a:r>
          </a:p>
          <a:p>
            <a:pPr lvl="1"/>
            <a:r>
              <a:rPr lang="nb-NO" sz="3200" dirty="0"/>
              <a:t>Oppslag via Kjernejournal</a:t>
            </a:r>
          </a:p>
          <a:p>
            <a:r>
              <a:rPr lang="nb-NO" sz="3200" dirty="0"/>
              <a:t>Over ½ million meldinger mottatt</a:t>
            </a:r>
          </a:p>
          <a:p>
            <a:r>
              <a:rPr lang="nb-NO" sz="3200" dirty="0"/>
              <a:t>Innsyn i egne data via </a:t>
            </a:r>
            <a:r>
              <a:rPr lang="nb-NO" sz="3200" dirty="0" err="1"/>
              <a:t>Helsenorge</a:t>
            </a:r>
            <a:endParaRPr lang="nb-NO" sz="3200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AF616A16-F2AD-47A8-B886-914325BDB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333374"/>
            <a:ext cx="11522075" cy="737437"/>
          </a:xfrm>
        </p:spPr>
        <p:txBody>
          <a:bodyPr/>
          <a:lstStyle/>
          <a:p>
            <a:r>
              <a:rPr lang="nb-NO" dirty="0"/>
              <a:t>Pasientens prøvesvar i prøvedrift ca. en måned</a:t>
            </a:r>
          </a:p>
        </p:txBody>
      </p:sp>
    </p:spTree>
    <p:extLst>
      <p:ext uri="{BB962C8B-B14F-4D97-AF65-F5344CB8AC3E}">
        <p14:creationId xmlns:p14="http://schemas.microsoft.com/office/powerpoint/2010/main" val="52901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F352EF9-4CC6-4686-A232-E64572C341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4" y="1970197"/>
            <a:ext cx="11522074" cy="4554429"/>
          </a:xfrm>
        </p:spPr>
        <p:txBody>
          <a:bodyPr/>
          <a:lstStyle/>
          <a:p>
            <a:r>
              <a:rPr lang="nb-NO" sz="2800" dirty="0"/>
              <a:t>Innkommende data</a:t>
            </a:r>
          </a:p>
          <a:p>
            <a:pPr lvl="1"/>
            <a:r>
              <a:rPr lang="nb-NO" sz="2800" dirty="0"/>
              <a:t>KITH-melding Laboratoriesvar, v1.4 (og v1.3)</a:t>
            </a:r>
          </a:p>
          <a:p>
            <a:pPr lvl="1"/>
            <a:r>
              <a:rPr lang="nb-NO" sz="2800" dirty="0"/>
              <a:t>XML</a:t>
            </a:r>
          </a:p>
          <a:p>
            <a:r>
              <a:rPr lang="nb-NO" sz="2800" dirty="0"/>
              <a:t>Tilgjengeliggjøring</a:t>
            </a:r>
          </a:p>
          <a:p>
            <a:pPr lvl="1"/>
            <a:r>
              <a:rPr lang="nb-NO" sz="2800" dirty="0"/>
              <a:t>FHIR R4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6E275BF-ABE2-4B2D-8144-69BD17606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amle inn og tilgjengeliggjøre svarrapporter</a:t>
            </a:r>
          </a:p>
        </p:txBody>
      </p:sp>
    </p:spTree>
    <p:extLst>
      <p:ext uri="{BB962C8B-B14F-4D97-AF65-F5344CB8AC3E}">
        <p14:creationId xmlns:p14="http://schemas.microsoft.com/office/powerpoint/2010/main" val="366257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66E275BF-ABE2-4B2D-8144-69BD17606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amle inn og tilgjengeliggjøre svarrapporter</a:t>
            </a:r>
          </a:p>
        </p:txBody>
      </p:sp>
      <p:sp>
        <p:nvSpPr>
          <p:cNvPr id="2" name="Rektangel: avrundede hjørner 1">
            <a:extLst>
              <a:ext uri="{FF2B5EF4-FFF2-40B4-BE49-F238E27FC236}">
                <a16:creationId xmlns:a16="http://schemas.microsoft.com/office/drawing/2014/main" id="{C6F1963A-CEA4-4B72-995D-1F3C45B04934}"/>
              </a:ext>
            </a:extLst>
          </p:cNvPr>
          <p:cNvSpPr/>
          <p:nvPr/>
        </p:nvSpPr>
        <p:spPr>
          <a:xfrm>
            <a:off x="770561" y="2571108"/>
            <a:ext cx="1982913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/>
              <a:t>Laboratorium</a:t>
            </a:r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1EA6BF71-EA9D-4B8B-885E-6DC7B8BDFF5D}"/>
              </a:ext>
            </a:extLst>
          </p:cNvPr>
          <p:cNvSpPr/>
          <p:nvPr/>
        </p:nvSpPr>
        <p:spPr>
          <a:xfrm>
            <a:off x="6686763" y="5522360"/>
            <a:ext cx="1982913" cy="9144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4000" dirty="0"/>
              <a:t>PPS</a:t>
            </a: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EEF7E4FE-9F17-4C31-BB8C-92053C7F5617}"/>
              </a:ext>
            </a:extLst>
          </p:cNvPr>
          <p:cNvSpPr/>
          <p:nvPr/>
        </p:nvSpPr>
        <p:spPr>
          <a:xfrm>
            <a:off x="3930721" y="3625066"/>
            <a:ext cx="1982913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/>
              <a:t>Meldingstjener</a:t>
            </a:r>
          </a:p>
        </p:txBody>
      </p:sp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AE7067C6-3C10-431E-901B-7DD30BE58115}"/>
              </a:ext>
            </a:extLst>
          </p:cNvPr>
          <p:cNvSpPr/>
          <p:nvPr/>
        </p:nvSpPr>
        <p:spPr>
          <a:xfrm>
            <a:off x="8669676" y="2571108"/>
            <a:ext cx="1982913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/>
              <a:t>Behandler</a:t>
            </a:r>
          </a:p>
        </p:txBody>
      </p:sp>
      <p:sp>
        <p:nvSpPr>
          <p:cNvPr id="11" name="Magnetplate 10">
            <a:extLst>
              <a:ext uri="{FF2B5EF4-FFF2-40B4-BE49-F238E27FC236}">
                <a16:creationId xmlns:a16="http://schemas.microsoft.com/office/drawing/2014/main" id="{3FC7ACB9-8151-4FE1-8B04-40BA50E62C96}"/>
              </a:ext>
            </a:extLst>
          </p:cNvPr>
          <p:cNvSpPr/>
          <p:nvPr/>
        </p:nvSpPr>
        <p:spPr>
          <a:xfrm>
            <a:off x="4161035" y="5455578"/>
            <a:ext cx="1530848" cy="1047964"/>
          </a:xfrm>
          <a:prstGeom prst="flowChartMagneticDisk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/>
              <a:t>Labsvar</a:t>
            </a:r>
          </a:p>
        </p:txBody>
      </p:sp>
      <p:cxnSp>
        <p:nvCxnSpPr>
          <p:cNvPr id="13" name="Rett pilkobling 12">
            <a:extLst>
              <a:ext uri="{FF2B5EF4-FFF2-40B4-BE49-F238E27FC236}">
                <a16:creationId xmlns:a16="http://schemas.microsoft.com/office/drawing/2014/main" id="{922A2384-757A-4430-8C92-09F6B9ED3DD9}"/>
              </a:ext>
            </a:extLst>
          </p:cNvPr>
          <p:cNvCxnSpPr>
            <a:stCxn id="2" idx="3"/>
            <a:endCxn id="9" idx="1"/>
          </p:cNvCxnSpPr>
          <p:nvPr/>
        </p:nvCxnSpPr>
        <p:spPr>
          <a:xfrm>
            <a:off x="2753474" y="3028308"/>
            <a:ext cx="1177247" cy="10539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kobling 14">
            <a:extLst>
              <a:ext uri="{FF2B5EF4-FFF2-40B4-BE49-F238E27FC236}">
                <a16:creationId xmlns:a16="http://schemas.microsoft.com/office/drawing/2014/main" id="{4A36860E-EE72-4EB2-A10B-03AC41097D03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 flipV="1">
            <a:off x="5913634" y="3028308"/>
            <a:ext cx="2756042" cy="10539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kobling 18">
            <a:extLst>
              <a:ext uri="{FF2B5EF4-FFF2-40B4-BE49-F238E27FC236}">
                <a16:creationId xmlns:a16="http://schemas.microsoft.com/office/drawing/2014/main" id="{5EB503FB-6BEC-47FF-8BF5-A5D94303F22E}"/>
              </a:ext>
            </a:extLst>
          </p:cNvPr>
          <p:cNvCxnSpPr>
            <a:stCxn id="10" idx="1"/>
            <a:endCxn id="2" idx="3"/>
          </p:cNvCxnSpPr>
          <p:nvPr/>
        </p:nvCxnSpPr>
        <p:spPr>
          <a:xfrm flipH="1">
            <a:off x="2753474" y="3028308"/>
            <a:ext cx="5916202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kobling 20">
            <a:extLst>
              <a:ext uri="{FF2B5EF4-FFF2-40B4-BE49-F238E27FC236}">
                <a16:creationId xmlns:a16="http://schemas.microsoft.com/office/drawing/2014/main" id="{2824E378-DBF2-478A-99FE-CA4DC402FF6D}"/>
              </a:ext>
            </a:extLst>
          </p:cNvPr>
          <p:cNvCxnSpPr>
            <a:cxnSpLocks/>
            <a:stCxn id="9" idx="2"/>
            <a:endCxn id="11" idx="1"/>
          </p:cNvCxnSpPr>
          <p:nvPr/>
        </p:nvCxnSpPr>
        <p:spPr>
          <a:xfrm>
            <a:off x="4922178" y="4539466"/>
            <a:ext cx="4281" cy="916112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6E6EAD5C-38D1-4815-823E-26D17B60BB31}"/>
              </a:ext>
            </a:extLst>
          </p:cNvPr>
          <p:cNvSpPr txBox="1"/>
          <p:nvPr/>
        </p:nvSpPr>
        <p:spPr>
          <a:xfrm>
            <a:off x="3097981" y="3626573"/>
            <a:ext cx="42191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XML</a:t>
            </a:r>
          </a:p>
        </p:txBody>
      </p:sp>
      <p:cxnSp>
        <p:nvCxnSpPr>
          <p:cNvPr id="25" name="Rett pilkobling 24">
            <a:extLst>
              <a:ext uri="{FF2B5EF4-FFF2-40B4-BE49-F238E27FC236}">
                <a16:creationId xmlns:a16="http://schemas.microsoft.com/office/drawing/2014/main" id="{911616A4-671D-4F5E-A277-E463DD674FD9}"/>
              </a:ext>
            </a:extLst>
          </p:cNvPr>
          <p:cNvCxnSpPr>
            <a:cxnSpLocks/>
            <a:stCxn id="11" idx="4"/>
            <a:endCxn id="8" idx="1"/>
          </p:cNvCxnSpPr>
          <p:nvPr/>
        </p:nvCxnSpPr>
        <p:spPr>
          <a:xfrm>
            <a:off x="5691883" y="5979560"/>
            <a:ext cx="994880" cy="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36F8F871-D368-4548-94D7-54899C3656B1}"/>
              </a:ext>
            </a:extLst>
          </p:cNvPr>
          <p:cNvSpPr txBox="1"/>
          <p:nvPr/>
        </p:nvSpPr>
        <p:spPr>
          <a:xfrm>
            <a:off x="5966588" y="5963958"/>
            <a:ext cx="42191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XML</a:t>
            </a:r>
          </a:p>
        </p:txBody>
      </p:sp>
      <p:sp>
        <p:nvSpPr>
          <p:cNvPr id="30" name="Rektangel: avrundede hjørner 29">
            <a:extLst>
              <a:ext uri="{FF2B5EF4-FFF2-40B4-BE49-F238E27FC236}">
                <a16:creationId xmlns:a16="http://schemas.microsoft.com/office/drawing/2014/main" id="{F040A6BC-1451-4DA8-A555-B09AAF08FA15}"/>
              </a:ext>
            </a:extLst>
          </p:cNvPr>
          <p:cNvSpPr/>
          <p:nvPr/>
        </p:nvSpPr>
        <p:spPr>
          <a:xfrm>
            <a:off x="9661130" y="5144756"/>
            <a:ext cx="1982913" cy="64227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/>
              <a:t>EPJ</a:t>
            </a:r>
          </a:p>
        </p:txBody>
      </p:sp>
      <p:sp>
        <p:nvSpPr>
          <p:cNvPr id="31" name="Rektangel: avrundede hjørner 30">
            <a:extLst>
              <a:ext uri="{FF2B5EF4-FFF2-40B4-BE49-F238E27FC236}">
                <a16:creationId xmlns:a16="http://schemas.microsoft.com/office/drawing/2014/main" id="{3EE99608-633B-4F82-831F-2B8904F9C6C7}"/>
              </a:ext>
            </a:extLst>
          </p:cNvPr>
          <p:cNvSpPr/>
          <p:nvPr/>
        </p:nvSpPr>
        <p:spPr>
          <a:xfrm>
            <a:off x="9661131" y="5894302"/>
            <a:ext cx="1982913" cy="64227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 err="1"/>
              <a:t>Helsenorge</a:t>
            </a:r>
            <a:endParaRPr lang="nb-NO" sz="2000" dirty="0"/>
          </a:p>
        </p:txBody>
      </p:sp>
      <p:cxnSp>
        <p:nvCxnSpPr>
          <p:cNvPr id="32" name="Rett pilkobling 31">
            <a:extLst>
              <a:ext uri="{FF2B5EF4-FFF2-40B4-BE49-F238E27FC236}">
                <a16:creationId xmlns:a16="http://schemas.microsoft.com/office/drawing/2014/main" id="{9387F217-1B9A-4642-A215-FB54107E2D3B}"/>
              </a:ext>
            </a:extLst>
          </p:cNvPr>
          <p:cNvCxnSpPr>
            <a:cxnSpLocks/>
            <a:stCxn id="44" idx="0"/>
            <a:endCxn id="10" idx="2"/>
          </p:cNvCxnSpPr>
          <p:nvPr/>
        </p:nvCxnSpPr>
        <p:spPr>
          <a:xfrm flipH="1" flipV="1">
            <a:off x="9661133" y="3485508"/>
            <a:ext cx="987175" cy="909701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kobling 35">
            <a:extLst>
              <a:ext uri="{FF2B5EF4-FFF2-40B4-BE49-F238E27FC236}">
                <a16:creationId xmlns:a16="http://schemas.microsoft.com/office/drawing/2014/main" id="{CB91D78B-9FF1-42AA-ADFF-B36EF294C3EB}"/>
              </a:ext>
            </a:extLst>
          </p:cNvPr>
          <p:cNvCxnSpPr>
            <a:cxnSpLocks/>
            <a:stCxn id="8" idx="3"/>
            <a:endCxn id="30" idx="1"/>
          </p:cNvCxnSpPr>
          <p:nvPr/>
        </p:nvCxnSpPr>
        <p:spPr>
          <a:xfrm flipV="1">
            <a:off x="8669676" y="5465892"/>
            <a:ext cx="991454" cy="51366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tt pilkobling 36">
            <a:extLst>
              <a:ext uri="{FF2B5EF4-FFF2-40B4-BE49-F238E27FC236}">
                <a16:creationId xmlns:a16="http://schemas.microsoft.com/office/drawing/2014/main" id="{4C521B8B-D7B7-4C3F-B2D3-9435BB4F8F32}"/>
              </a:ext>
            </a:extLst>
          </p:cNvPr>
          <p:cNvCxnSpPr>
            <a:cxnSpLocks/>
            <a:stCxn id="8" idx="3"/>
            <a:endCxn id="31" idx="1"/>
          </p:cNvCxnSpPr>
          <p:nvPr/>
        </p:nvCxnSpPr>
        <p:spPr>
          <a:xfrm>
            <a:off x="8669676" y="5979560"/>
            <a:ext cx="991455" cy="23587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2A900C63-7124-441E-9327-8C72F4C3FDC6}"/>
              </a:ext>
            </a:extLst>
          </p:cNvPr>
          <p:cNvSpPr txBox="1"/>
          <p:nvPr/>
        </p:nvSpPr>
        <p:spPr>
          <a:xfrm>
            <a:off x="8971544" y="5020855"/>
            <a:ext cx="38343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Fhir</a:t>
            </a:r>
          </a:p>
        </p:txBody>
      </p:sp>
      <p:sp>
        <p:nvSpPr>
          <p:cNvPr id="43" name="TekstSylinder 42">
            <a:extLst>
              <a:ext uri="{FF2B5EF4-FFF2-40B4-BE49-F238E27FC236}">
                <a16:creationId xmlns:a16="http://schemas.microsoft.com/office/drawing/2014/main" id="{2290C8B4-A6F1-46C8-9015-6C2FDB67FBD2}"/>
              </a:ext>
            </a:extLst>
          </p:cNvPr>
          <p:cNvSpPr txBox="1"/>
          <p:nvPr/>
        </p:nvSpPr>
        <p:spPr>
          <a:xfrm>
            <a:off x="4500267" y="2795320"/>
            <a:ext cx="7681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Rekvisisjon</a:t>
            </a:r>
          </a:p>
        </p:txBody>
      </p:sp>
      <p:sp>
        <p:nvSpPr>
          <p:cNvPr id="44" name="Rektangel: avrundede hjørner 43">
            <a:extLst>
              <a:ext uri="{FF2B5EF4-FFF2-40B4-BE49-F238E27FC236}">
                <a16:creationId xmlns:a16="http://schemas.microsoft.com/office/drawing/2014/main" id="{94A5C677-12AD-4791-8A15-63AE66FD7D1B}"/>
              </a:ext>
            </a:extLst>
          </p:cNvPr>
          <p:cNvSpPr/>
          <p:nvPr/>
        </p:nvSpPr>
        <p:spPr>
          <a:xfrm>
            <a:off x="9656851" y="4395209"/>
            <a:ext cx="1982913" cy="64227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 sz="2000" dirty="0"/>
              <a:t>Kjernejournal</a:t>
            </a:r>
          </a:p>
        </p:txBody>
      </p:sp>
      <p:cxnSp>
        <p:nvCxnSpPr>
          <p:cNvPr id="48" name="Rett pilkobling 47">
            <a:extLst>
              <a:ext uri="{FF2B5EF4-FFF2-40B4-BE49-F238E27FC236}">
                <a16:creationId xmlns:a16="http://schemas.microsoft.com/office/drawing/2014/main" id="{460046C3-E4C3-4348-9E8A-470F889BCBA9}"/>
              </a:ext>
            </a:extLst>
          </p:cNvPr>
          <p:cNvCxnSpPr>
            <a:cxnSpLocks/>
            <a:stCxn id="8" idx="3"/>
            <a:endCxn id="44" idx="1"/>
          </p:cNvCxnSpPr>
          <p:nvPr/>
        </p:nvCxnSpPr>
        <p:spPr>
          <a:xfrm flipV="1">
            <a:off x="8669676" y="4716345"/>
            <a:ext cx="987175" cy="1263215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70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B9CA8919-D389-4E45-97B0-2DAA5D6DBB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 err="1"/>
              <a:t>Mapping</a:t>
            </a:r>
            <a:r>
              <a:rPr lang="nb-NO" dirty="0"/>
              <a:t> XML -&gt; Fhir</a:t>
            </a:r>
          </a:p>
          <a:p>
            <a:pPr lvl="1"/>
            <a:r>
              <a:rPr lang="nb-NO" dirty="0"/>
              <a:t>Profilering</a:t>
            </a:r>
          </a:p>
          <a:p>
            <a:r>
              <a:rPr lang="nb-NO" dirty="0"/>
              <a:t>Teknologivalg</a:t>
            </a:r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021C6A0C-896B-4EAB-87FE-B478BABF6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6519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 err="1"/>
              <a:t>Mapping</a:t>
            </a:r>
            <a:r>
              <a:rPr lang="nb-NO" dirty="0"/>
              <a:t> - overordnet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E86A2BD2-C4E3-4C22-8347-9280968369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02771" y="1202077"/>
            <a:ext cx="3083650" cy="11983664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F037B50E-6312-4C4A-A33F-5AB255C6B0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-3804400"/>
            <a:ext cx="3191838" cy="10329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24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9D0CD27-A822-4165-A00D-152EBAB5F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4" y="1541124"/>
            <a:ext cx="11522074" cy="4983503"/>
          </a:xfrm>
        </p:spPr>
        <p:txBody>
          <a:bodyPr/>
          <a:lstStyle/>
          <a:p>
            <a:r>
              <a:rPr lang="nb-NO" sz="3200" dirty="0"/>
              <a:t>Ulike begreper</a:t>
            </a:r>
          </a:p>
          <a:p>
            <a:pPr lvl="1"/>
            <a:r>
              <a:rPr lang="nb-NO" sz="3200" dirty="0"/>
              <a:t>Datoer</a:t>
            </a:r>
          </a:p>
          <a:p>
            <a:pPr lvl="1"/>
            <a:r>
              <a:rPr lang="nb-NO" sz="3200" dirty="0"/>
              <a:t>Koder og kodeverk</a:t>
            </a:r>
          </a:p>
          <a:p>
            <a:pPr lvl="1"/>
            <a:r>
              <a:rPr lang="nb-NO" sz="3200" dirty="0"/>
              <a:t>Delvis matchende begreper</a:t>
            </a:r>
          </a:p>
          <a:p>
            <a:r>
              <a:rPr lang="nb-NO" sz="3200" dirty="0"/>
              <a:t>Ulik struktur</a:t>
            </a:r>
          </a:p>
          <a:p>
            <a:pPr lvl="1"/>
            <a:r>
              <a:rPr lang="nb-NO" sz="2400" dirty="0"/>
              <a:t>Eks.: </a:t>
            </a:r>
            <a:r>
              <a:rPr lang="nb-NO" sz="2400" dirty="0" err="1"/>
              <a:t>DiagnosticReport.Effective</a:t>
            </a:r>
            <a:r>
              <a:rPr lang="nb-NO" sz="2400" dirty="0"/>
              <a:t> &lt;- </a:t>
            </a:r>
            <a:r>
              <a:rPr lang="nb-NO" sz="2400" dirty="0" err="1"/>
              <a:t>AnalysedSubject.CollectedSample.CollectionDate</a:t>
            </a:r>
            <a:endParaRPr lang="nb-NO" sz="2400" dirty="0"/>
          </a:p>
          <a:p>
            <a:r>
              <a:rPr lang="nb-NO" sz="3200" dirty="0"/>
              <a:t>Ulike tolkninger/implementasjoner av </a:t>
            </a:r>
            <a:r>
              <a:rPr lang="nb-NO" sz="3200" dirty="0" err="1"/>
              <a:t>Xml</a:t>
            </a:r>
            <a:r>
              <a:rPr lang="nb-NO" sz="3200" dirty="0"/>
              <a:t>-standard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 err="1"/>
              <a:t>Mapping</a:t>
            </a:r>
            <a:r>
              <a:rPr lang="nb-NO" dirty="0"/>
              <a:t> - utfordringer</a:t>
            </a:r>
          </a:p>
        </p:txBody>
      </p:sp>
    </p:spTree>
    <p:extLst>
      <p:ext uri="{BB962C8B-B14F-4D97-AF65-F5344CB8AC3E}">
        <p14:creationId xmlns:p14="http://schemas.microsoft.com/office/powerpoint/2010/main" val="104796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9D0CD27-A822-4165-A00D-152EBAB5F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4" y="1541124"/>
            <a:ext cx="11522074" cy="4983503"/>
          </a:xfrm>
        </p:spPr>
        <p:txBody>
          <a:bodyPr/>
          <a:lstStyle/>
          <a:p>
            <a:r>
              <a:rPr lang="nb-NO" sz="3200" dirty="0" err="1"/>
              <a:t>Mapping</a:t>
            </a:r>
            <a:r>
              <a:rPr lang="nb-NO" sz="3200" dirty="0"/>
              <a:t> styrt av </a:t>
            </a:r>
            <a:r>
              <a:rPr lang="nb-NO" sz="3200" dirty="0" err="1"/>
              <a:t>xml</a:t>
            </a:r>
            <a:r>
              <a:rPr lang="nb-NO" sz="3200" dirty="0"/>
              <a:t> og behovet for å bevare mest mulig innhold.</a:t>
            </a:r>
          </a:p>
          <a:p>
            <a:r>
              <a:rPr lang="nb-NO" sz="3200" dirty="0"/>
              <a:t>Profil styrt av </a:t>
            </a:r>
            <a:r>
              <a:rPr lang="nb-NO" sz="3200" dirty="0" err="1"/>
              <a:t>mapping</a:t>
            </a:r>
            <a:r>
              <a:rPr lang="nb-NO" sz="3200" dirty="0"/>
              <a:t> </a:t>
            </a:r>
            <a:r>
              <a:rPr lang="nb-NO" sz="3200" dirty="0" err="1"/>
              <a:t>Xml</a:t>
            </a:r>
            <a:r>
              <a:rPr lang="nb-NO" sz="3200" dirty="0"/>
              <a:t>-&gt;Fhir (enveis!)</a:t>
            </a:r>
          </a:p>
          <a:p>
            <a:pPr lvl="1"/>
            <a:r>
              <a:rPr lang="nb-NO" sz="3200" dirty="0"/>
              <a:t>Dokumentasjon for </a:t>
            </a:r>
            <a:r>
              <a:rPr lang="nb-NO" sz="3200" u="sng" dirty="0"/>
              <a:t>konsumenter</a:t>
            </a:r>
            <a:r>
              <a:rPr lang="nb-NO" sz="3200" dirty="0"/>
              <a:t> av data fra PPS</a:t>
            </a:r>
          </a:p>
          <a:p>
            <a:pPr lvl="2"/>
            <a:r>
              <a:rPr lang="nb-NO" sz="2000" dirty="0">
                <a:hlinkClick r:id="rId2"/>
              </a:rPr>
              <a:t>DIAGNOSTIC.REPORT.NILAR\Home - FHIR v4.0.1 (hl7norway.github.io)</a:t>
            </a:r>
            <a:endParaRPr lang="nb-NO" sz="2000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/>
              <a:t>Profilering</a:t>
            </a:r>
          </a:p>
        </p:txBody>
      </p:sp>
    </p:spTree>
    <p:extLst>
      <p:ext uri="{BB962C8B-B14F-4D97-AF65-F5344CB8AC3E}">
        <p14:creationId xmlns:p14="http://schemas.microsoft.com/office/powerpoint/2010/main" val="1024089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9D0CD27-A822-4165-A00D-152EBAB5F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4" y="1541124"/>
            <a:ext cx="11522074" cy="4983503"/>
          </a:xfrm>
        </p:spPr>
        <p:txBody>
          <a:bodyPr/>
          <a:lstStyle/>
          <a:p>
            <a:r>
              <a:rPr lang="nb-NO" sz="3200" dirty="0"/>
              <a:t>Ikke del av prosjektet pr. nå</a:t>
            </a:r>
          </a:p>
          <a:p>
            <a:r>
              <a:rPr lang="nb-NO" sz="3200" dirty="0"/>
              <a:t>Vil mest sannsynlig være noe annerledes</a:t>
            </a:r>
          </a:p>
          <a:p>
            <a:pPr lvl="1"/>
            <a:r>
              <a:rPr lang="nb-NO" sz="3200" dirty="0"/>
              <a:t>Opprydding i gammel moro som finnes i </a:t>
            </a:r>
            <a:r>
              <a:rPr lang="nb-NO" sz="3200" dirty="0" err="1"/>
              <a:t>xml</a:t>
            </a:r>
            <a:endParaRPr lang="nb-NO" sz="3200" dirty="0"/>
          </a:p>
          <a:p>
            <a:pPr lvl="1"/>
            <a:r>
              <a:rPr lang="nb-NO" sz="3200" dirty="0"/>
              <a:t>Ny standard / profil tilpasset nåværende behov for labsvar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/>
              <a:t>Profil – levering av data</a:t>
            </a:r>
          </a:p>
        </p:txBody>
      </p:sp>
    </p:spTree>
    <p:extLst>
      <p:ext uri="{BB962C8B-B14F-4D97-AF65-F5344CB8AC3E}">
        <p14:creationId xmlns:p14="http://schemas.microsoft.com/office/powerpoint/2010/main" val="177598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9D0CD27-A822-4165-A00D-152EBAB5F0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4" y="1323870"/>
            <a:ext cx="11522074" cy="5200758"/>
          </a:xfrm>
        </p:spPr>
        <p:txBody>
          <a:bodyPr/>
          <a:lstStyle/>
          <a:p>
            <a:r>
              <a:rPr lang="nb-NO" sz="3200" dirty="0"/>
              <a:t>Data lagres på innkommende format – ingen </a:t>
            </a:r>
            <a:r>
              <a:rPr lang="nb-NO" sz="3200" dirty="0" err="1"/>
              <a:t>mapping</a:t>
            </a:r>
            <a:r>
              <a:rPr lang="nb-NO" sz="3200" dirty="0"/>
              <a:t> til Fhir</a:t>
            </a:r>
          </a:p>
          <a:p>
            <a:pPr lvl="1"/>
            <a:r>
              <a:rPr lang="nb-NO" sz="3200" dirty="0"/>
              <a:t>Preprosessering</a:t>
            </a:r>
          </a:p>
          <a:p>
            <a:pPr lvl="2"/>
            <a:r>
              <a:rPr lang="nb-NO" sz="3200" dirty="0" err="1"/>
              <a:t>Pseudonymingsering</a:t>
            </a:r>
            <a:endParaRPr lang="nb-NO" sz="3200" dirty="0"/>
          </a:p>
          <a:p>
            <a:pPr lvl="2"/>
            <a:r>
              <a:rPr lang="nb-NO" sz="3200" dirty="0"/>
              <a:t>Legg til id på alle ressurser (Fhir-id)</a:t>
            </a:r>
          </a:p>
          <a:p>
            <a:pPr lvl="1"/>
            <a:r>
              <a:rPr lang="nb-NO" sz="3200" dirty="0"/>
              <a:t>Dokument lagres i </a:t>
            </a:r>
            <a:r>
              <a:rPr lang="nb-NO" sz="3200" dirty="0" err="1"/>
              <a:t>MongoDb</a:t>
            </a:r>
            <a:endParaRPr lang="nb-NO" sz="3200" dirty="0"/>
          </a:p>
          <a:p>
            <a:r>
              <a:rPr lang="nb-NO" sz="3200" dirty="0" err="1"/>
              <a:t>Mapping</a:t>
            </a:r>
            <a:r>
              <a:rPr lang="nb-NO" sz="3200" dirty="0"/>
              <a:t> til Fhir skjer på vei ut – ved forespørsel</a:t>
            </a:r>
          </a:p>
          <a:p>
            <a:pPr lvl="1"/>
            <a:r>
              <a:rPr lang="nb-NO" sz="3200" dirty="0" err="1"/>
              <a:t>Fhirely.SDK</a:t>
            </a:r>
            <a:endParaRPr lang="nb-NO" sz="3200" dirty="0"/>
          </a:p>
          <a:p>
            <a:pPr lvl="1"/>
            <a:r>
              <a:rPr lang="nb-NO" sz="3200" dirty="0"/>
              <a:t>Spark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5635863-81E2-4D91-9905-879E561EC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3"/>
            <a:ext cx="11522075" cy="990496"/>
          </a:xfrm>
        </p:spPr>
        <p:txBody>
          <a:bodyPr/>
          <a:lstStyle/>
          <a:p>
            <a:r>
              <a:rPr lang="nb-NO" dirty="0"/>
              <a:t>Teknologivalg</a:t>
            </a:r>
          </a:p>
        </p:txBody>
      </p:sp>
    </p:spTree>
    <p:extLst>
      <p:ext uri="{BB962C8B-B14F-4D97-AF65-F5344CB8AC3E}">
        <p14:creationId xmlns:p14="http://schemas.microsoft.com/office/powerpoint/2010/main" val="101258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8eMflXtuwKi.B7j.WT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oBpn2w6uwfjfFoTwAxNg"/>
</p:tagLst>
</file>

<file path=ppt/theme/theme1.xml><?xml version="1.0" encoding="utf-8"?>
<a:theme xmlns:a="http://schemas.openxmlformats.org/drawingml/2006/main" name="Norsk helsenett">
  <a:themeElements>
    <a:clrScheme name="Norsk Helsenett Mørk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C4F2DA"/>
      </a:accent2>
      <a:accent3>
        <a:srgbClr val="7BEFB2"/>
      </a:accent3>
      <a:accent4>
        <a:srgbClr val="24735F"/>
      </a:accent4>
      <a:accent5>
        <a:srgbClr val="C4F1DA"/>
      </a:accent5>
      <a:accent6>
        <a:srgbClr val="E857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4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-powerpointmal" id="{09DEE76C-2313-4CD7-80CA-831B75408DB7}" vid="{AFE26FBB-175E-488A-9EA8-F1BEEFDBC258}"/>
    </a:ext>
  </a:extLst>
</a:theme>
</file>

<file path=ppt/theme/theme2.xml><?xml version="1.0" encoding="utf-8"?>
<a:theme xmlns:a="http://schemas.openxmlformats.org/drawingml/2006/main" name="Norsk helsenett (lys bakgrunn)">
  <a:themeElements>
    <a:clrScheme name="Norsk Helsenett Lys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015945"/>
      </a:accent2>
      <a:accent3>
        <a:srgbClr val="7BEFB2"/>
      </a:accent3>
      <a:accent4>
        <a:srgbClr val="39806F"/>
      </a:accent4>
      <a:accent5>
        <a:srgbClr val="C4F2DA"/>
      </a:accent5>
      <a:accent6>
        <a:srgbClr val="E85700"/>
      </a:accent6>
      <a:hlink>
        <a:srgbClr val="0563C1"/>
      </a:hlink>
      <a:folHlink>
        <a:srgbClr val="954F72"/>
      </a:folHlink>
    </a:clrScheme>
    <a:fontScheme name="Custom 7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4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-powerpointmal" id="{09DEE76C-2313-4CD7-80CA-831B75408DB7}" vid="{495BD0FE-83A0-478E-A2B6-E80591BB25C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am xmlns="1f5eea28-33d1-42ea-874e-8644811a1b3c" xsi:nil="true"/>
    <Tema xmlns="1f5eea28-33d1-42ea-874e-8644811a1b3c" xsi:nil="true"/>
    <Tjeneste xmlns="1f5eea28-33d1-42ea-874e-8644811a1b3c" xsi:nil="true"/>
    <lcf76f155ced4ddcb4097134ff3c332f xmlns="1f5eea28-33d1-42ea-874e-8644811a1b3c">
      <Terms xmlns="http://schemas.microsoft.com/office/infopath/2007/PartnerControls"/>
    </lcf76f155ced4ddcb4097134ff3c332f>
    <TaxCatchAll xmlns="b0159b99-07f0-4118-b6b8-3b0239e6bbdf" xsi:nil="true"/>
    <Kommentar xmlns="1f5eea28-33d1-42ea-874e-8644811a1b3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C6F3EB26434D46BA2BF4420C1D1E62" ma:contentTypeVersion="23" ma:contentTypeDescription="Create a new document." ma:contentTypeScope="" ma:versionID="62e81577e81378acf0a02ed135e02c9c">
  <xsd:schema xmlns:xsd="http://www.w3.org/2001/XMLSchema" xmlns:xs="http://www.w3.org/2001/XMLSchema" xmlns:p="http://schemas.microsoft.com/office/2006/metadata/properties" xmlns:ns2="1f5eea28-33d1-42ea-874e-8644811a1b3c" xmlns:ns3="b0159b99-07f0-4118-b6b8-3b0239e6bbdf" targetNamespace="http://schemas.microsoft.com/office/2006/metadata/properties" ma:root="true" ma:fieldsID="082d5342d65343ad535d75414939435f" ns2:_="" ns3:_="">
    <xsd:import namespace="1f5eea28-33d1-42ea-874e-8644811a1b3c"/>
    <xsd:import namespace="b0159b99-07f0-4118-b6b8-3b0239e6bb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Team" minOccurs="0"/>
                <xsd:element ref="ns2:Tjeneste" minOccurs="0"/>
                <xsd:element ref="ns2:Tem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5eea28-33d1-42ea-874e-8644811a1b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Team" ma:index="10" nillable="true" ma:displayName="Team" ma:format="Dropdown" ma:internalName="Team">
      <xsd:simpleType>
        <xsd:union memberTypes="dms:Text">
          <xsd:simpleType>
            <xsd:restriction base="dms:Choice">
              <xsd:enumeration value="Samhandlingsstøtte"/>
              <xsd:enumeration value="Team produkt"/>
              <xsd:enumeration value="Team støtte"/>
              <xsd:enumeration value="Ledelse"/>
            </xsd:restriction>
          </xsd:simpleType>
        </xsd:union>
      </xsd:simpleType>
    </xsd:element>
    <xsd:element name="Tjeneste" ma:index="11" nillable="true" ma:displayName="Tjeneste" ma:format="Dropdown" ma:internalName="Tjeneste">
      <xsd:simpleType>
        <xsd:union memberTypes="dms:Text">
          <xsd:simpleType>
            <xsd:restriction base="dms:Choice">
              <xsd:enumeration value="HelseID"/>
              <xsd:enumeration value="Selv"/>
              <xsd:enumeration value="Valg 3"/>
            </xsd:restriction>
          </xsd:simpleType>
        </xsd:union>
      </xsd:simpleType>
    </xsd:element>
    <xsd:element name="Tema" ma:index="12" nillable="true" ma:displayName="Tema" ma:format="Dropdown" ma:indexed="true" ma:internalName="Tema">
      <xsd:simpleType>
        <xsd:restriction base="dms:Text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b430ae2b-df2c-4b95-9cf0-770a4f42ed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7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159b99-07f0-4118-b6b8-3b0239e6bbd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b8196de5-9b6a-41df-aeb5-2e874a5b13b4}" ma:internalName="TaxCatchAll" ma:showField="CatchAllData" ma:web="b0159b99-07f0-4118-b6b8-3b0239e6bb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ACD1FE-2968-4A44-B254-5BA81D14706A}">
  <ds:schemaRefs>
    <ds:schemaRef ds:uri="http://schemas.microsoft.com/office/infopath/2007/PartnerControls"/>
    <ds:schemaRef ds:uri="http://schemas.microsoft.com/office/2006/documentManagement/types"/>
    <ds:schemaRef ds:uri="b0159b99-07f0-4118-b6b8-3b0239e6bbdf"/>
    <ds:schemaRef ds:uri="http://www.w3.org/XML/1998/namespace"/>
    <ds:schemaRef ds:uri="http://purl.org/dc/terms/"/>
    <ds:schemaRef ds:uri="http://purl.org/dc/dcmitype/"/>
    <ds:schemaRef ds:uri="http://schemas.openxmlformats.org/package/2006/metadata/core-properties"/>
    <ds:schemaRef ds:uri="1f5eea28-33d1-42ea-874e-8644811a1b3c"/>
    <ds:schemaRef ds:uri="http://schemas.microsoft.com/office/2006/metadata/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6B8C0401-00BF-404E-B532-C11874084B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5eea28-33d1-42ea-874e-8644811a1b3c"/>
    <ds:schemaRef ds:uri="b0159b99-07f0-4118-b6b8-3b0239e6bb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27B9743-FC69-4012-AC4A-81376FAB40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andard-powerpointmal</Template>
  <TotalTime>8845</TotalTime>
  <Words>313</Words>
  <Application>Microsoft Office PowerPoint</Application>
  <PresentationFormat>Widescreen</PresentationFormat>
  <Paragraphs>66</Paragraphs>
  <Slides>1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1</vt:i4>
      </vt:variant>
    </vt:vector>
  </HeadingPairs>
  <TitlesOfParts>
    <vt:vector size="17" baseType="lpstr">
      <vt:lpstr>-apple-system</vt:lpstr>
      <vt:lpstr>Arial</vt:lpstr>
      <vt:lpstr>Calibri</vt:lpstr>
      <vt:lpstr>Norsk helsenett</vt:lpstr>
      <vt:lpstr>Norsk helsenett (lys bakgrunn)</vt:lpstr>
      <vt:lpstr>think-cell Slide</vt:lpstr>
      <vt:lpstr>Pasientens prøvesvar – PPS  (Prosjektnavn NILAR)</vt:lpstr>
      <vt:lpstr>Samle inn og tilgjengeliggjøre svarrapporter</vt:lpstr>
      <vt:lpstr>Samle inn og tilgjengeliggjøre svarrapporter</vt:lpstr>
      <vt:lpstr>Agenda</vt:lpstr>
      <vt:lpstr>Mapping - overordnet</vt:lpstr>
      <vt:lpstr>Mapping - utfordringer</vt:lpstr>
      <vt:lpstr>Profilering</vt:lpstr>
      <vt:lpstr>Profil – levering av data</vt:lpstr>
      <vt:lpstr>Teknologivalg</vt:lpstr>
      <vt:lpstr>Teknologivalg</vt:lpstr>
      <vt:lpstr>Pasientens prøvesvar i prøvedrift ca. en mån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tel:</dc:title>
  <dc:creator>Petter Wake</dc:creator>
  <cp:lastModifiedBy>Ivar Yrke</cp:lastModifiedBy>
  <cp:revision>258</cp:revision>
  <dcterms:created xsi:type="dcterms:W3CDTF">2022-05-18T10:37:10Z</dcterms:created>
  <dcterms:modified xsi:type="dcterms:W3CDTF">2022-11-29T10:4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C6F3EB26434D46BA2BF4420C1D1E62</vt:lpwstr>
  </property>
  <property fmtid="{D5CDD505-2E9C-101B-9397-08002B2CF9AE}" pid="3" name="MediaServiceImageTags">
    <vt:lpwstr/>
  </property>
</Properties>
</file>